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74" r:id="rId2"/>
  </p:sldMasterIdLst>
  <p:notesMasterIdLst>
    <p:notesMasterId r:id="rId14"/>
  </p:notesMasterIdLst>
  <p:sldIdLst>
    <p:sldId id="2134805403" r:id="rId3"/>
    <p:sldId id="2134805939" r:id="rId4"/>
    <p:sldId id="2134805730" r:id="rId5"/>
    <p:sldId id="2134805710" r:id="rId6"/>
    <p:sldId id="2134805734" r:id="rId7"/>
    <p:sldId id="2134805740" r:id="rId8"/>
    <p:sldId id="2134805743" r:id="rId9"/>
    <p:sldId id="2134805744" r:id="rId10"/>
    <p:sldId id="337" r:id="rId11"/>
    <p:sldId id="2134805745" r:id="rId12"/>
    <p:sldId id="2134805746" r:id="rId13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E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352"/>
    <p:restoredTop sz="94648"/>
  </p:normalViewPr>
  <p:slideViewPr>
    <p:cSldViewPr snapToGrid="0">
      <p:cViewPr varScale="1">
        <p:scale>
          <a:sx n="63" d="100"/>
          <a:sy n="63" d="100"/>
        </p:scale>
        <p:origin x="712" y="52"/>
      </p:cViewPr>
      <p:guideLst>
        <p:guide orient="horz" pos="218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406BF8-212D-4146-8168-483C3A5784E8}" type="datetimeFigureOut">
              <a:rPr lang="ru-RU" smtClean="0"/>
              <a:t>20.07.202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0FD6EC-4543-2943-A5BC-C43A7B3DCB3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5733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1C91F2-8139-4373-8D79-6336D643496A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02491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  <p:txBody>
          <a:bodyPr/>
          <a:lstStyle/>
          <a:p>
            <a:endParaRPr lang="ru-RU"/>
          </a:p>
        </p:txBody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1C91F2-8139-4373-8D79-6336D643496A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61238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6BD4B8-E74A-73C4-34F3-08AB02B56E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F1B45821-4BAB-66F4-FCB6-055BBCC3A23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  <p:txBody>
          <a:bodyPr/>
          <a:lstStyle/>
          <a:p>
            <a:endParaRPr lang="ru-RU"/>
          </a:p>
        </p:txBody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8B9D040A-B358-8EED-F5C7-729F43E7E7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164F0FA3-8A3A-7D55-BE19-B9C2CC80D8A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1C91F2-8139-4373-8D79-6336D643496A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948647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EAFDFE-0553-33ED-E84D-9A6A3163A1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5E7B0F23-86BE-8EFA-A1D9-ED31E6399D5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E99DB13F-25D2-5C9A-EFBB-9652C8FDAE4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235C416-7E89-A75B-EFFD-0286D8AFC2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0FD6EC-4543-2943-A5BC-C43A7B3DCB3D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72010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0FD6EC-4543-2943-A5BC-C43A7B3DCB3D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6500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79866A-EF3D-897A-9B7B-AD760AD3FD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140E00D1-F4C8-F65D-8DD0-E8C2FC2F6AC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1EF9C6CF-1042-F3B7-693B-C47E16170C4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949EF9B1-BA35-D3C5-25AB-2F17332B6F1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0FD6EC-4543-2943-A5BC-C43A7B3DCB3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24498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B6CA60-6656-F6D4-98CB-61E1DD2A31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426D0256-BEA7-912C-70E6-1805E25E64F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8DFC04FF-8AB5-335A-C02D-F99A102D83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E84EEF9-6FDB-3F4E-6247-2EE801395BF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0FD6EC-4543-2943-A5BC-C43A7B3DCB3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47267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1D75F2-517B-7D00-CC15-97465E1235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47EF0A7B-7950-C015-EA3B-A563B7013B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15117AB0-F3ED-5574-5AF2-94154A122D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F2CC431-C5D1-2B1C-A810-64C392FF480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0FD6EC-4543-2943-A5BC-C43A7B3DCB3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56390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36741D-E931-E997-F6E2-D0EA64A9A0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0E404567-1266-1E13-923D-0C973D09B8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A96DBCA2-8EB8-75CD-338B-DC74ECD2B34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761AB0CD-F730-77C1-337E-E053ADBD6D9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0FD6EC-4543-2943-A5BC-C43A7B3DCB3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51830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96DD6A-B610-0BDE-361C-334A355A9D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8F79A2C6-F077-7A95-3A06-5F444FE376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BB918D93-55D4-65F2-B6AD-5851119CC07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39C6C6C0-458B-E308-9FB7-BEC7E9DDA8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0FD6EC-4543-2943-A5BC-C43A7B3DCB3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414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8347C6C-5E16-BB4F-809D-CC04FEC7D3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F4A14E0C-B51C-6947-AB71-DD6C7FB3AB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C2A4483-7A0C-C440-8752-9B84FCD1F0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7E6E7-459C-7643-8B51-242BF7B3A19B}" type="datetimeFigureOut">
              <a:rPr lang="ru-RU" smtClean="0"/>
              <a:t>20.07.2026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FE021E5-DA4F-B746-89B9-0C4BC33E2C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843DFF2-A81D-CA4A-9814-339E9618D1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4A6F-5AAB-6849-B757-F46C573B2A7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88076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20C96CD-0375-8747-8548-A29B45E88F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F4499442-CA49-DA4D-B417-AB2468DBB78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C01CD0A-3110-6748-9D7A-71485C125B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7E6E7-459C-7643-8B51-242BF7B3A19B}" type="datetimeFigureOut">
              <a:rPr lang="ru-RU" smtClean="0"/>
              <a:t>20.07.2026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209B672-5015-F147-BC45-00333B762F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95A3F50-7978-F04E-B062-D53A623C79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4A6F-5AAB-6849-B757-F46C573B2A7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92602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9B35CB95-AE8B-FF49-85D7-5DF7A2E1E98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164D0B39-7D83-CA48-8EE9-C9EA5A33CF3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BCB8D43-22C7-DD47-B46B-709B048BF0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7E6E7-459C-7643-8B51-242BF7B3A19B}" type="datetimeFigureOut">
              <a:rPr lang="ru-RU" smtClean="0"/>
              <a:t>20.07.2026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B74F296-A8EB-A646-80C9-39A2FFEF00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A6EDEB2-596F-F54C-9554-0D3D87C87C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4A6F-5AAB-6849-B757-F46C573B2A7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98099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20/2026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194201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1429703"/>
              </p:ext>
            </p:extLst>
          </p:nvPr>
        </p:nvGraphicFramePr>
        <p:xfrm>
          <a:off x="1960" y="1597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83" imgH="384" progId="TCLayout.ActiveDocument.1">
                  <p:embed/>
                </p:oleObj>
              </mc:Choice>
              <mc:Fallback>
                <p:oleObj name="Слайд think-cell" r:id="rId4" imgW="383" imgH="384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60" y="1597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2000" b="0" i="0" baseline="0" dirty="0">
              <a:solidFill>
                <a:schemeClr val="tx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6244" y="388154"/>
            <a:ext cx="11520000" cy="307777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6244" y="146305"/>
            <a:ext cx="11520000" cy="184666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accent4"/>
                </a:solidFill>
                <a:latin typeface="+mj-lt"/>
              </a:defRPr>
            </a:lvl1pPr>
          </a:lstStyle>
          <a:p>
            <a:endParaRPr lang="ru-RU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550" y="6312181"/>
            <a:ext cx="11520488" cy="1384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900" baseline="0">
                <a:solidFill>
                  <a:schemeClr val="tx1"/>
                </a:solidFill>
                <a:latin typeface="+mj-lt"/>
              </a:defRPr>
            </a:lvl1pPr>
            <a:lvl2pPr marL="457224" indent="0" algn="ctr">
              <a:buNone/>
              <a:defRPr sz="2000"/>
            </a:lvl2pPr>
            <a:lvl3pPr marL="914446" indent="0" algn="ctr">
              <a:buNone/>
              <a:defRPr sz="1801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8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1 – </a:t>
            </a:r>
            <a:r>
              <a:rPr lang="ru-RU" dirty="0"/>
              <a:t>текст сноски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336245" y="6504109"/>
            <a:ext cx="9360000" cy="138499"/>
          </a:xfrm>
        </p:spPr>
        <p:txBody>
          <a:bodyPr wrap="square" anchor="t" anchorCtr="0">
            <a:sp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/>
              <a:t>Источник: анализ </a:t>
            </a:r>
            <a:r>
              <a:rPr lang="en-US" dirty="0"/>
              <a:t>Strategy Partner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337360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264DC12-A6A5-6FC3-FA10-B349661F30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1122363"/>
            <a:ext cx="9144000" cy="2387600"/>
          </a:xfrm>
        </p:spPr>
        <p:txBody>
          <a:bodyPr anchor="b"/>
          <a:lstStyle>
            <a:lvl1pPr algn="ctr">
              <a:defRPr sz="5998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B1C95D7A-297D-189F-A3CB-6290FFEFEE1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1" y="3602039"/>
            <a:ext cx="9144000" cy="1655762"/>
          </a:xfrm>
        </p:spPr>
        <p:txBody>
          <a:bodyPr/>
          <a:lstStyle>
            <a:lvl1pPr marL="0" indent="0" algn="ctr">
              <a:buNone/>
              <a:defRPr sz="2399"/>
            </a:lvl1pPr>
            <a:lvl2pPr marL="457012" indent="0" algn="ctr">
              <a:buNone/>
              <a:defRPr sz="1999"/>
            </a:lvl2pPr>
            <a:lvl3pPr marL="914022" indent="0" algn="ctr">
              <a:buNone/>
              <a:defRPr sz="1799"/>
            </a:lvl3pPr>
            <a:lvl4pPr marL="1371034" indent="0" algn="ctr">
              <a:buNone/>
              <a:defRPr sz="1600"/>
            </a:lvl4pPr>
            <a:lvl5pPr marL="1828045" indent="0" algn="ctr">
              <a:buNone/>
              <a:defRPr sz="1600"/>
            </a:lvl5pPr>
            <a:lvl6pPr marL="2285056" indent="0" algn="ctr">
              <a:buNone/>
              <a:defRPr sz="1600"/>
            </a:lvl6pPr>
            <a:lvl7pPr marL="2742067" indent="0" algn="ctr">
              <a:buNone/>
              <a:defRPr sz="1600"/>
            </a:lvl7pPr>
            <a:lvl8pPr marL="3199079" indent="0" algn="ctr">
              <a:buNone/>
              <a:defRPr sz="1600"/>
            </a:lvl8pPr>
            <a:lvl9pPr marL="3656089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BD6D4A4-7F50-0477-CA89-186E8506FC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255CC76-2813-4D3D-B032-47964A667501}" type="datetime1">
              <a:rPr lang="en-US" smtClean="0"/>
              <a:t>7/20/2026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705406A-5CFB-732E-E633-2544F10571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E380EBB-D3BB-B7CE-5F15-31A6804FC0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A642D7D-C85E-41E5-B223-56D5518835F1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83861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29608A6-664D-286B-710B-1D707B3A48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383565F-6C36-7922-F991-0556106B874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960474F-9FA4-E42B-6EA2-08E0F09347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18228-D83E-43BC-90B9-034933F38EEC}" type="datetime1">
              <a:rPr lang="en-US" smtClean="0"/>
              <a:t>7/20/2026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378BFCA-4767-60CF-8EFB-56490756FD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8FF8EA8-B3DF-77E1-6724-F9C66CB258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24659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00BB791-171B-7F63-BC96-28E7B0104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5998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60834C33-7479-66BF-A6D2-C9D831852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1pPr>
            <a:lvl2pPr marL="457012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022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0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04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0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06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0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0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36F746D-7AF4-E649-CF98-7E9C50C2D8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667B66-EE0E-435A-83BC-2F1AF9020C9C}" type="datetime1">
              <a:rPr lang="en-US" smtClean="0"/>
              <a:t>7/20/2026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D2286B4-F33B-C09C-C82F-B7EAADF455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A339E95-DB60-8F91-0E62-E56C4367D6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744527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00D76AE-1539-EEB8-72C6-0AD3A4D7AC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905CA47C-3444-A6EC-76F7-A2C13B443AB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1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2FEC6B1E-3D18-20E0-3C84-ABE08F1302B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1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382BCC36-A925-1F67-9C84-22D44B8341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E3C5F6-E3BA-4997-B89E-2D27FD11FBA9}" type="datetime1">
              <a:rPr lang="en-US" smtClean="0"/>
              <a:t>7/20/2026</a:t>
            </a:fld>
            <a:endParaRPr lang="en-US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C8FCC0DB-EAFB-41E8-1D54-B1803F8C41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E3178429-3E4B-9497-643F-4BC748583D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85181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3BBE700-BC4D-C970-89C1-05841A95E1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F3286DF4-8318-819C-B1AB-419A1625F0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7012" indent="0">
              <a:buNone/>
              <a:defRPr sz="1999" b="1"/>
            </a:lvl2pPr>
            <a:lvl3pPr marL="914022" indent="0">
              <a:buNone/>
              <a:defRPr sz="1799" b="1"/>
            </a:lvl3pPr>
            <a:lvl4pPr marL="1371034" indent="0">
              <a:buNone/>
              <a:defRPr sz="1600" b="1"/>
            </a:lvl4pPr>
            <a:lvl5pPr marL="1828045" indent="0">
              <a:buNone/>
              <a:defRPr sz="1600" b="1"/>
            </a:lvl5pPr>
            <a:lvl6pPr marL="2285056" indent="0">
              <a:buNone/>
              <a:defRPr sz="1600" b="1"/>
            </a:lvl6pPr>
            <a:lvl7pPr marL="2742067" indent="0">
              <a:buNone/>
              <a:defRPr sz="1600" b="1"/>
            </a:lvl7pPr>
            <a:lvl8pPr marL="3199079" indent="0">
              <a:buNone/>
              <a:defRPr sz="1600" b="1"/>
            </a:lvl8pPr>
            <a:lvl9pPr marL="3656089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23288D0D-3C23-283C-BC7A-2D458A0EA9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6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29A8F1C3-465C-5993-C34D-8D16D0937E6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7012" indent="0">
              <a:buNone/>
              <a:defRPr sz="1999" b="1"/>
            </a:lvl2pPr>
            <a:lvl3pPr marL="914022" indent="0">
              <a:buNone/>
              <a:defRPr sz="1799" b="1"/>
            </a:lvl3pPr>
            <a:lvl4pPr marL="1371034" indent="0">
              <a:buNone/>
              <a:defRPr sz="1600" b="1"/>
            </a:lvl4pPr>
            <a:lvl5pPr marL="1828045" indent="0">
              <a:buNone/>
              <a:defRPr sz="1600" b="1"/>
            </a:lvl5pPr>
            <a:lvl6pPr marL="2285056" indent="0">
              <a:buNone/>
              <a:defRPr sz="1600" b="1"/>
            </a:lvl6pPr>
            <a:lvl7pPr marL="2742067" indent="0">
              <a:buNone/>
              <a:defRPr sz="1600" b="1"/>
            </a:lvl7pPr>
            <a:lvl8pPr marL="3199079" indent="0">
              <a:buNone/>
              <a:defRPr sz="1600" b="1"/>
            </a:lvl8pPr>
            <a:lvl9pPr marL="3656089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59A540A2-9CEC-818F-556D-80637CC5F47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6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C64AA3BB-B14F-55E9-5345-3C87C882FB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F4F7C9-CB3E-4FA1-9DA4-92EF274199DB}" type="datetime1">
              <a:rPr lang="en-US" smtClean="0"/>
              <a:t>7/20/2026</a:t>
            </a:fld>
            <a:endParaRPr lang="en-US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9FDCB91D-CDC1-E718-3FD3-8E9BD0CF1B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75C1D0C7-45C9-3F1E-2DA7-9226D19926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960245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947FB60-9FAE-9E34-9D6A-5A078C4859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658446CD-CBEF-DEDF-1A4F-318F8F6744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F120E9-FBB7-4ADD-93E3-A3DDE182D9EE}" type="datetime1">
              <a:rPr lang="en-US" smtClean="0"/>
              <a:t>7/20/2026</a:t>
            </a:fld>
            <a:endParaRPr lang="en-US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68DD6D0D-D1C5-3DCB-7754-C6554B9B99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8BC29BA7-EF32-FA9E-2CA9-EF128F4ED1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35248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3D6021-6C39-C843-97C0-A5629CD555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3B0D9E1E-35FA-C148-AB7B-DAE35CD251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92C8EE7-6B26-B043-9A71-32459BB709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7E6E7-459C-7643-8B51-242BF7B3A19B}" type="datetimeFigureOut">
              <a:rPr lang="ru-RU" smtClean="0"/>
              <a:t>20.07.2026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C7DCD76-001E-A748-A8AC-920BF441C3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6271AF3-F4A7-CD47-A0E6-5AC48E0058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4A6F-5AAB-6849-B757-F46C573B2A7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4950260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CFD8A072-FE2F-EA0C-8CBF-0B06CB2520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3F65D4-86D2-4B1F-B088-42672C1A367D}" type="datetime1">
              <a:rPr lang="en-US" smtClean="0"/>
              <a:t>7/20/2026</a:t>
            </a:fld>
            <a:endParaRPr lang="en-US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2BEF0C62-96AD-5406-78E6-5F1491FC87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AB14785-2483-D99C-EE7F-B1FC58AC48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59243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CC2DF19-0AD5-DC23-2DCE-476972480F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0A26747-F31F-46DF-2B4A-7C7527DDEC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199"/>
            </a:lvl1pPr>
            <a:lvl2pPr>
              <a:defRPr sz="2798"/>
            </a:lvl2pPr>
            <a:lvl3pPr>
              <a:defRPr sz="2399"/>
            </a:lvl3pPr>
            <a:lvl4pPr>
              <a:defRPr sz="1999"/>
            </a:lvl4pPr>
            <a:lvl5pPr>
              <a:defRPr sz="1999"/>
            </a:lvl5pPr>
            <a:lvl6pPr>
              <a:defRPr sz="1999"/>
            </a:lvl6pPr>
            <a:lvl7pPr>
              <a:defRPr sz="1999"/>
            </a:lvl7pPr>
            <a:lvl8pPr>
              <a:defRPr sz="1999"/>
            </a:lvl8pPr>
            <a:lvl9pPr>
              <a:defRPr sz="1999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3212DDDD-DEEA-FDDB-3E7A-B7D95B0D729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12" indent="0">
              <a:buNone/>
              <a:defRPr sz="1399"/>
            </a:lvl2pPr>
            <a:lvl3pPr marL="914022" indent="0">
              <a:buNone/>
              <a:defRPr sz="1200"/>
            </a:lvl3pPr>
            <a:lvl4pPr marL="1371034" indent="0">
              <a:buNone/>
              <a:defRPr sz="1000"/>
            </a:lvl4pPr>
            <a:lvl5pPr marL="1828045" indent="0">
              <a:buNone/>
              <a:defRPr sz="1000"/>
            </a:lvl5pPr>
            <a:lvl6pPr marL="2285056" indent="0">
              <a:buNone/>
              <a:defRPr sz="1000"/>
            </a:lvl6pPr>
            <a:lvl7pPr marL="2742067" indent="0">
              <a:buNone/>
              <a:defRPr sz="1000"/>
            </a:lvl7pPr>
            <a:lvl8pPr marL="3199079" indent="0">
              <a:buNone/>
              <a:defRPr sz="1000"/>
            </a:lvl8pPr>
            <a:lvl9pPr marL="3656089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389F3C3D-C58D-A015-36D1-EF6B80520C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60387-184D-4974-B513-6C731ACB8FD5}" type="datetime1">
              <a:rPr lang="en-US" smtClean="0"/>
              <a:t>7/20/2026</a:t>
            </a:fld>
            <a:endParaRPr lang="en-US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EC89AE13-F519-0448-EF02-3507F3C93C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6B71FD3C-8A4E-9669-509F-9954D3DE22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73143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8B8A344-88BB-7FCF-02A0-C9F320C6C7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B6BCA28A-4196-E546-A751-6763C0A9459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199"/>
            </a:lvl1pPr>
            <a:lvl2pPr marL="457012" indent="0">
              <a:buNone/>
              <a:defRPr sz="2798"/>
            </a:lvl2pPr>
            <a:lvl3pPr marL="914022" indent="0">
              <a:buNone/>
              <a:defRPr sz="2399"/>
            </a:lvl3pPr>
            <a:lvl4pPr marL="1371034" indent="0">
              <a:buNone/>
              <a:defRPr sz="1999"/>
            </a:lvl4pPr>
            <a:lvl5pPr marL="1828045" indent="0">
              <a:buNone/>
              <a:defRPr sz="1999"/>
            </a:lvl5pPr>
            <a:lvl6pPr marL="2285056" indent="0">
              <a:buNone/>
              <a:defRPr sz="1999"/>
            </a:lvl6pPr>
            <a:lvl7pPr marL="2742067" indent="0">
              <a:buNone/>
              <a:defRPr sz="1999"/>
            </a:lvl7pPr>
            <a:lvl8pPr marL="3199079" indent="0">
              <a:buNone/>
              <a:defRPr sz="1999"/>
            </a:lvl8pPr>
            <a:lvl9pPr marL="3656089" indent="0">
              <a:buNone/>
              <a:defRPr sz="1999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971E4795-45CA-FE2F-153F-3825541EA34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12" indent="0">
              <a:buNone/>
              <a:defRPr sz="1399"/>
            </a:lvl2pPr>
            <a:lvl3pPr marL="914022" indent="0">
              <a:buNone/>
              <a:defRPr sz="1200"/>
            </a:lvl3pPr>
            <a:lvl4pPr marL="1371034" indent="0">
              <a:buNone/>
              <a:defRPr sz="1000"/>
            </a:lvl4pPr>
            <a:lvl5pPr marL="1828045" indent="0">
              <a:buNone/>
              <a:defRPr sz="1000"/>
            </a:lvl5pPr>
            <a:lvl6pPr marL="2285056" indent="0">
              <a:buNone/>
              <a:defRPr sz="1000"/>
            </a:lvl6pPr>
            <a:lvl7pPr marL="2742067" indent="0">
              <a:buNone/>
              <a:defRPr sz="1000"/>
            </a:lvl7pPr>
            <a:lvl8pPr marL="3199079" indent="0">
              <a:buNone/>
              <a:defRPr sz="1000"/>
            </a:lvl8pPr>
            <a:lvl9pPr marL="3656089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3BD8098F-3504-6787-36E7-B80A3D15CF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437FC-0EE6-435E-B8E7-86AF09D8A539}" type="datetime1">
              <a:rPr lang="en-US" smtClean="0"/>
              <a:t>7/20/2026</a:t>
            </a:fld>
            <a:endParaRPr lang="en-US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B538A5E0-DE2D-AE06-3265-195FAFC62F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3DB35644-17C5-79A6-7B18-55D8CB2A73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0747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A1181B5-86B6-5FD0-31F3-7604A1A54B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9516DB44-C6E0-3D2B-9EE6-0F2DDFF8E7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C83792B-1FE9-96A9-226E-0A3374539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D26A9-0159-4A1C-AAA4-58CD1657E7ED}" type="datetime1">
              <a:rPr lang="en-US" smtClean="0"/>
              <a:t>7/20/2026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D46D50B-F90A-C3A0-6017-9D5D03BC4A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07230C6-5E83-4AD4-1BD2-CDB3590DC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320920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6046A7BA-A418-D194-3D0C-7F57DB755AD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61204B41-65F1-5957-0972-8FD1BFE48FC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4914090-3A03-417F-C3D4-A205440BC1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661643-870C-46D7-B756-533EB3B2C4F7}" type="datetime1">
              <a:rPr lang="en-US" smtClean="0"/>
              <a:t>7/20/2026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E935607-4792-3812-6967-BDD916E5C6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2A0082B-A902-7429-72FC-BB948378B1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48135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609522" y="274545"/>
            <a:ext cx="10972959" cy="585134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3FCC71D-C3DF-4B76-8A04-98B5AAEF2D33}" type="datetime1">
              <a:rPr lang="en-US" altLang="ru-RU" smtClean="0"/>
              <a:t>7/20/2026</a:t>
            </a:fld>
            <a:endParaRPr lang="ru-RU" alt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D533F5-A369-4B49-949F-A5488BC7D6C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7292846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09E135-C1EE-4737-83ED-C9F948572035}" type="datetime1">
              <a:rPr lang="en-US" smtClean="0"/>
              <a:t>7/20/2026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94035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объект" userDrawn="1">
  <p:cSld name="1_Заголовок и объект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33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fld id="{B5613367-6ED4-43E4-9B78-6E8F573315B6}" type="datetime1">
              <a:rPr lang="en-US" smtClean="0"/>
              <a:t>7/20/2026</a:t>
            </a:fld>
            <a:endParaRPr/>
          </a:p>
        </p:txBody>
      </p:sp>
      <p:sp>
        <p:nvSpPr>
          <p:cNvPr id="21" name="Google Shape;21;p33"/>
          <p:cNvSpPr txBox="1">
            <a:spLocks noGrp="1"/>
          </p:cNvSpPr>
          <p:nvPr>
            <p:ph type="ftr" idx="11"/>
          </p:nvPr>
        </p:nvSpPr>
        <p:spPr>
          <a:xfrm>
            <a:off x="4038601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33"/>
          <p:cNvSpPr txBox="1">
            <a:spLocks noGrp="1"/>
          </p:cNvSpPr>
          <p:nvPr>
            <p:ph type="sldNum" idx="12"/>
          </p:nvPr>
        </p:nvSpPr>
        <p:spPr>
          <a:xfrm>
            <a:off x="8610600" y="6019603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967161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5EA7754-36C7-F542-A356-7CFCB3E26C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F266B81-3896-6B4D-9C24-E0A04029E1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A100AE7-7824-3A44-AD88-9BD33F2397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7E6E7-459C-7643-8B51-242BF7B3A19B}" type="datetimeFigureOut">
              <a:rPr lang="ru-RU" smtClean="0"/>
              <a:t>20.07.2026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B80A64A-794E-2C47-B695-4BD0950185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FEE8739-3245-7A4C-83DB-86ED3E9467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4A6F-5AAB-6849-B757-F46C573B2A7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76864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F140C79-E14F-1C4C-8A78-558A8E6B8B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334DA61-8A7E-1348-BCEC-075C76C70CB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464189AD-B796-744D-A2F8-E9AFE22823B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2FF062BD-B5A7-754D-B8D6-7F061E54CA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7E6E7-459C-7643-8B51-242BF7B3A19B}" type="datetimeFigureOut">
              <a:rPr lang="ru-RU" smtClean="0"/>
              <a:t>20.07.2026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B78CB07-33CF-3148-BBE7-17F84EB8F5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9C2DD14E-6210-DC41-9D9B-858BB6E633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4A6F-5AAB-6849-B757-F46C573B2A7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01000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63A01BF-D301-714D-BB17-F760719EF7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F0A4975-83AF-5842-A18C-936E2F0982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FD79866B-E16A-7542-8119-18AAAFC92D1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4AA7C93A-43AB-7240-A3BB-AAB1DD0EE90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D1799700-79D2-C340-9841-BA9D072BA4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52DEEDFD-6096-7B46-9F3F-43EC7B23BA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7E6E7-459C-7643-8B51-242BF7B3A19B}" type="datetimeFigureOut">
              <a:rPr lang="ru-RU" smtClean="0"/>
              <a:t>20.07.2026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595DAC5A-DCDA-8649-AFE0-6E60AD018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72CDC44D-8AA3-4140-A703-7126448076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4A6F-5AAB-6849-B757-F46C573B2A7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13200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0BEEAB3-38E7-8449-A40A-F2F6B75595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63FA2C95-8D4D-B048-925E-FA773575BA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7E6E7-459C-7643-8B51-242BF7B3A19B}" type="datetimeFigureOut">
              <a:rPr lang="ru-RU" smtClean="0"/>
              <a:t>20.07.2026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7CD65E6D-BFE7-574A-8EAC-1C4C355299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90D966D3-6F69-3F4B-B90B-A172C98E39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4A6F-5AAB-6849-B757-F46C573B2A7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77407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E0DBB714-EA47-E543-9C57-B5F76809C9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7E6E7-459C-7643-8B51-242BF7B3A19B}" type="datetimeFigureOut">
              <a:rPr lang="ru-RU" smtClean="0"/>
              <a:t>20.07.2026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F68B76B5-330F-4842-B070-61BE71622E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72D13B8E-6225-494A-A981-7BCEF28B93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4A6F-5AAB-6849-B757-F46C573B2A7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84457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932D9CB-BB67-994B-B09E-DD3F55531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CB25D9F-3ED0-3E4E-9462-C67A41ABCF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45098D1C-0688-E34D-AC75-9E0EC988B14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A87969D9-E72C-4649-AB6F-B27895B3A7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7E6E7-459C-7643-8B51-242BF7B3A19B}" type="datetimeFigureOut">
              <a:rPr lang="ru-RU" smtClean="0"/>
              <a:t>20.07.2026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2E673350-19DF-C040-A144-592BBB6222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6737AF35-87C1-1C46-A5B2-E65151F097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4A6F-5AAB-6849-B757-F46C573B2A7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841137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AEA54EF-C6D0-B640-B56E-C9D619E15B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F16FF3C7-53DF-084B-9CE7-4C1003DD2B7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2EBF8C31-E24C-CD4C-8422-27DE6E0B231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E056F078-4CFC-D241-B784-B0ACA6395D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7E6E7-459C-7643-8B51-242BF7B3A19B}" type="datetimeFigureOut">
              <a:rPr lang="ru-RU" smtClean="0"/>
              <a:t>20.07.2026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9A942B07-749C-AF40-9A78-E283166326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43BEF27B-5678-6749-AF80-6EF767EE65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4A6F-5AAB-6849-B757-F46C573B2A7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021906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AE2513D-BAE8-BF4B-B37A-75AB8DCC64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93447E72-4484-384D-A2DC-D1D564710C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197729F-F35D-4640-BC0A-6EBF571CB9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67E6E7-459C-7643-8B51-242BF7B3A19B}" type="datetimeFigureOut">
              <a:rPr lang="ru-RU" smtClean="0"/>
              <a:t>20.07.2026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884B707-BC27-B145-8F38-7390952F93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B963407-09FC-D34D-ADF1-C7F181B6FF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E94A6F-5AAB-6849-B757-F46C573B2A7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324504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3820F0D-FC89-301A-5167-83A7BC3DA8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54050452-0F81-710C-DB50-34899CC03B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249DC8F-8CE6-4B2B-898E-E17065C7C28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3A441E-4C4A-435E-BFC2-ED2626F69B26}" type="datetime1">
              <a:rPr lang="en-US" smtClean="0"/>
              <a:t>7/20/2026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4CFE888-0806-5CA3-276A-F6591D47BD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1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AAD13C1-D65B-ACC8-3432-EA65B179EC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75005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</p:sldLayoutIdLst>
  <p:hf sldNum="0" hdr="0" ftr="0" dt="0"/>
  <p:txStyles>
    <p:titleStyle>
      <a:lvl1pPr algn="l" defTabSz="914022" rtl="0" eaLnBrk="1" latinLnBrk="0" hangingPunct="1">
        <a:lnSpc>
          <a:spcPct val="90000"/>
        </a:lnSpc>
        <a:spcBef>
          <a:spcPct val="0"/>
        </a:spcBef>
        <a:buNone/>
        <a:defRPr sz="439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06" indent="-228506" algn="l" defTabSz="91402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8" kern="1200">
          <a:solidFill>
            <a:schemeClr val="tx1"/>
          </a:solidFill>
          <a:latin typeface="+mn-lt"/>
          <a:ea typeface="+mn-ea"/>
          <a:cs typeface="+mn-cs"/>
        </a:defRPr>
      </a:lvl1pPr>
      <a:lvl2pPr marL="685516" indent="-228506" algn="l" defTabSz="914022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142528" indent="-228506" algn="l" defTabSz="914022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599539" indent="-228506" algn="l" defTabSz="914022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6550" indent="-228506" algn="l" defTabSz="914022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3561" indent="-228506" algn="l" defTabSz="914022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573" indent="-228506" algn="l" defTabSz="914022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583" indent="-228506" algn="l" defTabSz="914022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595" indent="-228506" algn="l" defTabSz="914022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02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12" algn="l" defTabSz="91402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022" algn="l" defTabSz="91402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034" algn="l" defTabSz="91402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045" algn="l" defTabSz="91402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056" algn="l" defTabSz="91402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067" algn="l" defTabSz="91402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079" algn="l" defTabSz="91402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089" algn="l" defTabSz="91402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4.pn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6.xml"/><Relationship Id="rId5" Type="http://schemas.openxmlformats.org/officeDocument/2006/relationships/hyperlink" Target="https://json.tv/" TargetMode="External"/><Relationship Id="rId4" Type="http://schemas.openxmlformats.org/officeDocument/2006/relationships/hyperlink" Target="mailto:news@json.tv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.w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wmf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.pn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3.pn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4.pn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6.wmf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5.png"/><Relationship Id="rId5" Type="http://schemas.openxmlformats.org/officeDocument/2006/relationships/image" Target="../media/image8.svg"/><Relationship Id="rId4" Type="http://schemas.openxmlformats.org/officeDocument/2006/relationships/image" Target="../media/image7.png"/><Relationship Id="rId9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wmf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TextBox 85"/>
          <p:cNvSpPr txBox="1"/>
          <p:nvPr/>
        </p:nvSpPr>
        <p:spPr>
          <a:xfrm>
            <a:off x="4880019" y="1538208"/>
            <a:ext cx="7123744" cy="26184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422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736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736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ценка экономического эффекта </a:t>
            </a:r>
            <a:br>
              <a:rPr kumimoji="0" lang="ru-RU" sz="2736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kumimoji="0" lang="ru-RU" sz="2736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 использования систем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736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3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nified Endpoint Management</a:t>
            </a:r>
            <a:endParaRPr kumimoji="0" lang="en-US" sz="228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73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России</a:t>
            </a:r>
            <a:endParaRPr kumimoji="0" lang="en-US" sz="273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7" name="Рисунок 6" descr="Процессор со сплошной заливкой">
            <a:extLst>
              <a:ext uri="{FF2B5EF4-FFF2-40B4-BE49-F238E27FC236}">
                <a16:creationId xmlns:a16="http://schemas.microsoft.com/office/drawing/2014/main" id="{02F42239-F660-254D-B8F8-82CF61B2E5F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74865" y="4633855"/>
            <a:ext cx="1042270" cy="104227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23BEC3C7-DA40-BE40-A7FC-5F3E2474A6E9}"/>
              </a:ext>
            </a:extLst>
          </p:cNvPr>
          <p:cNvSpPr txBox="1"/>
          <p:nvPr/>
        </p:nvSpPr>
        <p:spPr>
          <a:xfrm>
            <a:off x="82492" y="6246636"/>
            <a:ext cx="1202701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0422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27FBE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Arial" panose="020B0604020202020204" pitchFamily="34" charset="0"/>
              </a:rPr>
              <a:t>Москва, 21 июля 2026 года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F2F6043-2C29-2644-A64A-96447BB90E0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870" y="313780"/>
            <a:ext cx="2866245" cy="72959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BE78926-546A-634A-AC12-AADD72033050}"/>
              </a:ext>
            </a:extLst>
          </p:cNvPr>
          <p:cNvSpPr txBox="1"/>
          <p:nvPr/>
        </p:nvSpPr>
        <p:spPr>
          <a:xfrm>
            <a:off x="409777" y="2165407"/>
            <a:ext cx="1169973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0052A4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ак исследовать сложные ИТ-рынки России: </a:t>
            </a:r>
            <a:b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0052A4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0052A4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 сбора данных к построению моделей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664A5EB-C131-6840-BF98-7E709EA4B468}"/>
              </a:ext>
            </a:extLst>
          </p:cNvPr>
          <p:cNvSpPr txBox="1"/>
          <p:nvPr/>
        </p:nvSpPr>
        <p:spPr>
          <a:xfrm>
            <a:off x="926275" y="5860172"/>
            <a:ext cx="10687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422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27FBE"/>
                </a:solidFill>
                <a:effectLst/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Аналитический </a:t>
            </a:r>
            <a:r>
              <a:rPr kumimoji="0" lang="en" sz="1800" b="0" i="0" u="none" strike="noStrike" kern="1200" cap="none" spc="0" normalizeH="0" baseline="0" noProof="0" dirty="0">
                <a:ln>
                  <a:noFill/>
                </a:ln>
                <a:solidFill>
                  <a:srgbClr val="027FBE"/>
                </a:solidFill>
                <a:effectLst/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MeetUp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27FBE"/>
                </a:solidFill>
                <a:effectLst/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:</a:t>
            </a:r>
            <a:r>
              <a:rPr kumimoji="0" lang="en" sz="1800" b="0" i="0" u="none" strike="noStrike" kern="1200" cap="none" spc="0" normalizeH="0" baseline="0" noProof="0" dirty="0">
                <a:ln>
                  <a:noFill/>
                </a:ln>
                <a:solidFill>
                  <a:srgbClr val="027FBE"/>
                </a:solidFill>
                <a:effectLst/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 «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27FBE"/>
                </a:solidFill>
                <a:effectLst/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Портрет российского </a:t>
            </a:r>
            <a:r>
              <a:rPr kumimoji="0" lang="en" sz="1800" b="0" i="0" u="none" strike="noStrike" kern="1200" cap="none" spc="0" normalizeH="0" baseline="0" noProof="0" dirty="0">
                <a:ln>
                  <a:noFill/>
                </a:ln>
                <a:solidFill>
                  <a:srgbClr val="027FBE"/>
                </a:solidFill>
                <a:effectLst/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IT-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27FBE"/>
                </a:solidFill>
                <a:effectLst/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рынка: тренды, аудитория, инструменты»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4DD5310-A142-604B-825B-858A3194E8F9}"/>
              </a:ext>
            </a:extLst>
          </p:cNvPr>
          <p:cNvSpPr txBox="1"/>
          <p:nvPr/>
        </p:nvSpPr>
        <p:spPr>
          <a:xfrm>
            <a:off x="1226448" y="3276562"/>
            <a:ext cx="10050017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422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52A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1298DA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актические выводы </a:t>
            </a:r>
            <a:r>
              <a:rPr kumimoji="0" lang="en" sz="2800" b="1" i="0" u="none" strike="noStrike" kern="1200" cap="none" spc="0" normalizeH="0" baseline="0" noProof="0" dirty="0">
                <a:ln>
                  <a:noFill/>
                </a:ln>
                <a:solidFill>
                  <a:srgbClr val="1298DA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J'son &amp; Partners Consult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52A4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745895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F2B53B-5EC4-1176-F2C5-23C7071322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object 2">
            <a:extLst>
              <a:ext uri="{FF2B5EF4-FFF2-40B4-BE49-F238E27FC236}">
                <a16:creationId xmlns:a16="http://schemas.microsoft.com/office/drawing/2014/main" id="{1B306D15-D11A-6AAE-EAEA-0EF487C12BC8}"/>
              </a:ext>
            </a:extLst>
          </p:cNvPr>
          <p:cNvSpPr txBox="1">
            <a:spLocks/>
          </p:cNvSpPr>
          <p:nvPr/>
        </p:nvSpPr>
        <p:spPr>
          <a:xfrm>
            <a:off x="1037473" y="107660"/>
            <a:ext cx="8356666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sz="2000" b="1" i="0">
                <a:solidFill>
                  <a:srgbClr val="003274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 lvl="0">
              <a:spcBef>
                <a:spcPts val="100"/>
              </a:spcBef>
              <a:defRPr/>
            </a:pPr>
            <a:r>
              <a:rPr lang="ru-RU" sz="2400" kern="0" spc="-5" dirty="0">
                <a:solidFill>
                  <a:srgbClr val="0052A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И в маркетинговых исследованиях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3C3B43A1-19F8-D29C-0AB5-ADF2002EC606}"/>
              </a:ext>
            </a:extLst>
          </p:cNvPr>
          <p:cNvSpPr txBox="1"/>
          <p:nvPr/>
        </p:nvSpPr>
        <p:spPr>
          <a:xfrm>
            <a:off x="926230" y="556682"/>
            <a:ext cx="8356666" cy="354595"/>
          </a:xfrm>
          <a:prstGeom prst="rect">
            <a:avLst/>
          </a:prstGeom>
          <a:noFill/>
        </p:spPr>
        <p:txBody>
          <a:bodyPr wrap="square" lIns="104278" tIns="52139" rIns="104278" bIns="52139" rtlCol="0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2200" b="1">
                <a:solidFill>
                  <a:srgbClr val="0052A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sz="1800" b="0" dirty="0">
                <a:solidFill>
                  <a:srgbClr val="027FBE"/>
                </a:solidFill>
                <a:cs typeface="Devanagari MT" panose="02000500020000000000" pitchFamily="2" charset="0"/>
              </a:rPr>
              <a:t>Ускоряет поиск и обработку, но требует контроля методологии и фактов</a:t>
            </a:r>
          </a:p>
        </p:txBody>
      </p:sp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14BBD840-F6BD-97A0-E0A4-AC4E9786B9C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2445" y="213720"/>
            <a:ext cx="2614989" cy="673300"/>
          </a:xfrm>
          <a:prstGeom prst="rect">
            <a:avLst/>
          </a:prstGeom>
        </p:spPr>
      </p:pic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CF54F597-BF29-5B89-E9ED-17C15BA9CB09}"/>
              </a:ext>
            </a:extLst>
          </p:cNvPr>
          <p:cNvSpPr/>
          <p:nvPr/>
        </p:nvSpPr>
        <p:spPr>
          <a:xfrm>
            <a:off x="552206" y="0"/>
            <a:ext cx="382849" cy="870842"/>
          </a:xfrm>
          <a:prstGeom prst="rect">
            <a:avLst/>
          </a:prstGeom>
          <a:solidFill>
            <a:srgbClr val="FDE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78" tIns="52139" rIns="104278" bIns="52139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3" name="Прямая соединительная линия 42">
            <a:extLst>
              <a:ext uri="{FF2B5EF4-FFF2-40B4-BE49-F238E27FC236}">
                <a16:creationId xmlns:a16="http://schemas.microsoft.com/office/drawing/2014/main" id="{7DFE09FB-4EFB-75A2-A990-5C1A0064B069}"/>
              </a:ext>
            </a:extLst>
          </p:cNvPr>
          <p:cNvCxnSpPr>
            <a:cxnSpLocks/>
          </p:cNvCxnSpPr>
          <p:nvPr/>
        </p:nvCxnSpPr>
        <p:spPr>
          <a:xfrm>
            <a:off x="372533" y="953037"/>
            <a:ext cx="11656198" cy="0"/>
          </a:xfrm>
          <a:prstGeom prst="line">
            <a:avLst/>
          </a:prstGeom>
          <a:ln w="38100" cap="rnd" cmpd="sng">
            <a:gradFill flip="none" rotWithShape="1">
              <a:gsLst>
                <a:gs pos="14000">
                  <a:srgbClr val="0052A4">
                    <a:alpha val="77819"/>
                  </a:srgbClr>
                </a:gs>
                <a:gs pos="36000">
                  <a:srgbClr val="0052A4">
                    <a:alpha val="74709"/>
                  </a:srgbClr>
                </a:gs>
                <a:gs pos="67000">
                  <a:srgbClr val="027FBE">
                    <a:alpha val="81915"/>
                  </a:srgbClr>
                </a:gs>
                <a:gs pos="51000">
                  <a:srgbClr val="027FBE"/>
                </a:gs>
                <a:gs pos="84000">
                  <a:srgbClr val="027FBE">
                    <a:alpha val="81774"/>
                  </a:srgbClr>
                </a:gs>
              </a:gsLst>
              <a:lin ang="2700000" scaled="1"/>
              <a:tileRect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ounded Rectangle 90">
            <a:extLst>
              <a:ext uri="{FF2B5EF4-FFF2-40B4-BE49-F238E27FC236}">
                <a16:creationId xmlns:a16="http://schemas.microsoft.com/office/drawing/2014/main" id="{F41902A5-3246-05D6-C33F-856D96C97502}"/>
              </a:ext>
            </a:extLst>
          </p:cNvPr>
          <p:cNvSpPr/>
          <p:nvPr/>
        </p:nvSpPr>
        <p:spPr>
          <a:xfrm>
            <a:off x="551337" y="6148204"/>
            <a:ext cx="11382162" cy="602136"/>
          </a:xfrm>
          <a:prstGeom prst="roundRect">
            <a:avLst/>
          </a:prstGeom>
          <a:solidFill>
            <a:srgbClr val="00399A"/>
          </a:solidFill>
          <a:ln w="12700">
            <a:solidFill>
              <a:srgbClr val="002D7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45720" rIns="45720" rtlCol="0" anchor="ctr">
            <a:norm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1" i="0" u="none" strike="noStrike" kern="1200" cap="none" spc="0" normalizeH="0" baseline="0" noProof="0" dirty="0">
              <a:ln>
                <a:noFill/>
              </a:ln>
              <a:solidFill>
                <a:srgbClr val="FFCE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10E15C7-F683-B2F7-8E16-EF92B4E38F67}"/>
              </a:ext>
            </a:extLst>
          </p:cNvPr>
          <p:cNvSpPr txBox="1"/>
          <p:nvPr/>
        </p:nvSpPr>
        <p:spPr>
          <a:xfrm>
            <a:off x="1740763" y="6217654"/>
            <a:ext cx="9899900" cy="496076"/>
          </a:xfrm>
          <a:prstGeom prst="rect">
            <a:avLst/>
          </a:prstGeom>
          <a:noFill/>
        </p:spPr>
        <p:txBody>
          <a:bodyPr wrap="square" lIns="18288" tIns="18288" rIns="18288" bIns="18288">
            <a:noAutofit/>
          </a:bodyPr>
          <a:lstStyle/>
          <a:p>
            <a:r>
              <a:rPr lang="ru-RU" sz="1200" dirty="0">
                <a:solidFill>
                  <a:schemeClr val="bg1"/>
                </a:solidFill>
                <a:latin typeface="Tahoma" pitchFamily="34" charset="0"/>
                <a:ea typeface="Tahoma" pitchFamily="34" charset="-122"/>
                <a:cs typeface="Tahoma" pitchFamily="34" charset="-120"/>
              </a:rPr>
              <a:t>ИИ может ускорить цикл проведения исследования. Эксперт отвечает за границы рынка</a:t>
            </a:r>
            <a:r>
              <a:rPr lang="en-US" sz="1200" dirty="0">
                <a:solidFill>
                  <a:schemeClr val="bg1"/>
                </a:solidFill>
                <a:latin typeface="Tahoma" pitchFamily="34" charset="0"/>
                <a:ea typeface="Tahoma" pitchFamily="34" charset="-122"/>
                <a:cs typeface="Tahoma" pitchFamily="34" charset="-120"/>
              </a:rPr>
              <a:t>,</a:t>
            </a:r>
            <a:r>
              <a:rPr lang="ru-RU" sz="1200" dirty="0">
                <a:solidFill>
                  <a:schemeClr val="bg1"/>
                </a:solidFill>
                <a:latin typeface="Tahoma" pitchFamily="34" charset="0"/>
                <a:ea typeface="Tahoma" pitchFamily="34" charset="-122"/>
                <a:cs typeface="Tahoma" pitchFamily="34" charset="-120"/>
              </a:rPr>
              <a:t> формирование методологии,</a:t>
            </a:r>
            <a:r>
              <a:rPr lang="en-US" sz="1200" dirty="0">
                <a:solidFill>
                  <a:schemeClr val="bg1"/>
                </a:solidFill>
                <a:latin typeface="Tahoma" pitchFamily="34" charset="0"/>
                <a:ea typeface="Tahoma" pitchFamily="34" charset="-122"/>
                <a:cs typeface="Tahoma" pitchFamily="34" charset="-120"/>
              </a:rPr>
              <a:t> </a:t>
            </a:r>
            <a:r>
              <a:rPr lang="ru-RU" sz="1200" dirty="0">
                <a:solidFill>
                  <a:schemeClr val="bg1"/>
                </a:solidFill>
                <a:latin typeface="Tahoma" pitchFamily="34" charset="0"/>
                <a:ea typeface="Tahoma" pitchFamily="34" charset="-122"/>
                <a:cs typeface="Tahoma" pitchFamily="34" charset="-120"/>
              </a:rPr>
              <a:t>качество данных, верификацию, </a:t>
            </a:r>
            <a:r>
              <a:rPr lang="ru-RU" sz="1200" b="1" dirty="0">
                <a:solidFill>
                  <a:srgbClr val="FFCE00"/>
                </a:solidFill>
                <a:latin typeface="Tahoma" pitchFamily="34" charset="0"/>
                <a:ea typeface="Tahoma" pitchFamily="34" charset="-122"/>
                <a:cs typeface="Tahoma" pitchFamily="34" charset="-120"/>
              </a:rPr>
              <a:t>построение модели и оценку рынка, а также управленческие выводы</a:t>
            </a:r>
            <a:endParaRPr lang="en-US" sz="1200" b="1" dirty="0">
              <a:solidFill>
                <a:srgbClr val="FFCE00"/>
              </a:solidFill>
            </a:endParaRPr>
          </a:p>
        </p:txBody>
      </p:sp>
      <p:pic>
        <p:nvPicPr>
          <p:cNvPr id="10" name="Рисунок 9" descr="Включенный свет со сплошной заливкой">
            <a:extLst>
              <a:ext uri="{FF2B5EF4-FFF2-40B4-BE49-F238E27FC236}">
                <a16:creationId xmlns:a16="http://schemas.microsoft.com/office/drawing/2014/main" id="{C8DCCDF8-F8A1-749D-A853-839578BDCA6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90763" y="6148204"/>
            <a:ext cx="584392" cy="584392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44FCC170-0F13-3FCE-ED37-AFB3F80D74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2533" y="1115947"/>
            <a:ext cx="11832466" cy="4858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83885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TextBox 85"/>
          <p:cNvSpPr txBox="1"/>
          <p:nvPr/>
        </p:nvSpPr>
        <p:spPr>
          <a:xfrm>
            <a:off x="4880481" y="1538926"/>
            <a:ext cx="7121041" cy="2616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041819">
              <a:defRPr/>
            </a:pPr>
            <a:endParaRPr lang="ru-RU" sz="2734" b="1" dirty="0">
              <a:solidFill>
                <a:prstClr val="white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  <a:p>
            <a:pPr algn="ctr" defTabSz="1042690">
              <a:defRPr/>
            </a:pPr>
            <a:r>
              <a:rPr lang="ru-RU" sz="2734" b="1" dirty="0">
                <a:solidFill>
                  <a:prstClr val="white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ценка экономического эффекта </a:t>
            </a:r>
            <a:br>
              <a:rPr lang="ru-RU" sz="2734" b="1" dirty="0">
                <a:solidFill>
                  <a:prstClr val="white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2734" b="1" dirty="0">
                <a:solidFill>
                  <a:prstClr val="white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 использования систем </a:t>
            </a:r>
          </a:p>
          <a:p>
            <a:pPr algn="ctr" defTabSz="1042690">
              <a:defRPr/>
            </a:pPr>
            <a:r>
              <a:rPr lang="ru-RU" sz="2734" b="1" dirty="0">
                <a:solidFill>
                  <a:prstClr val="white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 algn="ctr" defTabSz="1042690">
              <a:defRPr/>
            </a:pPr>
            <a:r>
              <a:rPr lang="en-US" sz="2734" dirty="0">
                <a:solidFill>
                  <a:prstClr val="white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nified Endpoint Management</a:t>
            </a:r>
            <a:endParaRPr lang="en-US" sz="2279" dirty="0">
              <a:solidFill>
                <a:prstClr val="white"/>
              </a:solidFill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 defTabSz="1042690">
              <a:defRPr/>
            </a:pPr>
            <a:r>
              <a:rPr lang="ru-RU" sz="2734" dirty="0">
                <a:solidFill>
                  <a:prstClr val="white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России</a:t>
            </a:r>
            <a:endParaRPr lang="en-US" sz="2734" dirty="0">
              <a:solidFill>
                <a:prstClr val="white"/>
              </a:solidFill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F2F6043-2C29-2644-A64A-96447BB90E0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19102" y="395138"/>
            <a:ext cx="2865158" cy="72931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BE78926-546A-634A-AC12-AADD72033050}"/>
              </a:ext>
            </a:extLst>
          </p:cNvPr>
          <p:cNvSpPr txBox="1"/>
          <p:nvPr/>
        </p:nvSpPr>
        <p:spPr>
          <a:xfrm>
            <a:off x="1630976" y="2050957"/>
            <a:ext cx="9481494" cy="7075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042690">
              <a:defRPr/>
            </a:pPr>
            <a:r>
              <a:rPr lang="ru-RU" sz="3998" b="1" dirty="0">
                <a:solidFill>
                  <a:srgbClr val="0052A4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лагодарим за сотрудничество!</a:t>
            </a:r>
            <a:r>
              <a:rPr lang="ru-RU" sz="2734" b="1" dirty="0">
                <a:solidFill>
                  <a:srgbClr val="0052A4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2EB9DBC-A243-F24D-A67B-4E41037E92DB}"/>
              </a:ext>
            </a:extLst>
          </p:cNvPr>
          <p:cNvSpPr txBox="1"/>
          <p:nvPr/>
        </p:nvSpPr>
        <p:spPr>
          <a:xfrm>
            <a:off x="198201" y="3283481"/>
            <a:ext cx="11803321" cy="2049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041819">
              <a:defRPr/>
            </a:pPr>
            <a:r>
              <a:rPr lang="ru-RU" sz="1824" dirty="0">
                <a:solidFill>
                  <a:srgbClr val="00B0F0"/>
                </a:solidFill>
                <a:latin typeface="Calibri"/>
                <a:ea typeface="Times New Roman" panose="02020603050405020304" pitchFamily="18" charset="0"/>
                <a:cs typeface="Arial" panose="020B0604020202020204" pitchFamily="34" charset="0"/>
              </a:rPr>
              <a:t>ООО «Джейсон энд Партнерс Консалтинг»</a:t>
            </a:r>
          </a:p>
          <a:p>
            <a:pPr algn="ctr" defTabSz="1041819">
              <a:defRPr/>
            </a:pPr>
            <a:r>
              <a:rPr lang="ru-RU" sz="1824" dirty="0">
                <a:solidFill>
                  <a:srgbClr val="00B0F0"/>
                </a:solidFill>
                <a:latin typeface="Calibri"/>
                <a:ea typeface="Times New Roman" panose="02020603050405020304" pitchFamily="18" charset="0"/>
                <a:cs typeface="Arial" panose="020B0604020202020204" pitchFamily="34" charset="0"/>
              </a:rPr>
              <a:t>Генеральный директор</a:t>
            </a:r>
            <a:br>
              <a:rPr lang="en-US" sz="1824" dirty="0">
                <a:solidFill>
                  <a:srgbClr val="00B0F0"/>
                </a:solidFill>
                <a:latin typeface="Calibri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sz="1824" dirty="0">
                <a:solidFill>
                  <a:srgbClr val="00B0F0"/>
                </a:solidFill>
                <a:latin typeface="Calibri"/>
                <a:ea typeface="Times New Roman" panose="02020603050405020304" pitchFamily="18" charset="0"/>
                <a:cs typeface="Arial" panose="020B0604020202020204" pitchFamily="34" charset="0"/>
              </a:rPr>
              <a:t>Светлана Водянова</a:t>
            </a:r>
          </a:p>
          <a:p>
            <a:pPr algn="ctr" defTabSz="1041819">
              <a:defRPr/>
            </a:pPr>
            <a:endParaRPr lang="ru-RU" sz="1824" dirty="0">
              <a:solidFill>
                <a:srgbClr val="00B0F0"/>
              </a:solidFill>
              <a:latin typeface="Calibri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 defTabSz="1041819">
              <a:defRPr/>
            </a:pPr>
            <a:r>
              <a:rPr lang="ru-RU" sz="1824" dirty="0">
                <a:solidFill>
                  <a:srgbClr val="00B0F0"/>
                </a:solidFill>
                <a:latin typeface="Calibri"/>
                <a:ea typeface="Times New Roman" panose="02020603050405020304" pitchFamily="18" charset="0"/>
                <a:cs typeface="Arial" panose="020B0604020202020204" pitchFamily="34" charset="0"/>
              </a:rPr>
              <a:t>101000, г. Москва, </a:t>
            </a:r>
            <a:r>
              <a:rPr lang="ru-RU" sz="1824" dirty="0" err="1">
                <a:solidFill>
                  <a:srgbClr val="00B0F0"/>
                </a:solidFill>
                <a:latin typeface="Calibri"/>
                <a:ea typeface="Times New Roman" panose="02020603050405020304" pitchFamily="18" charset="0"/>
                <a:cs typeface="Arial" panose="020B0604020202020204" pitchFamily="34" charset="0"/>
              </a:rPr>
              <a:t>вн.тер.г</a:t>
            </a:r>
            <a:r>
              <a:rPr lang="ru-RU" sz="1824" dirty="0">
                <a:solidFill>
                  <a:srgbClr val="00B0F0"/>
                </a:solidFill>
                <a:latin typeface="Calibri"/>
                <a:ea typeface="Times New Roman" panose="02020603050405020304" pitchFamily="18" charset="0"/>
                <a:cs typeface="Arial" panose="020B0604020202020204" pitchFamily="34" charset="0"/>
              </a:rPr>
              <a:t>. </a:t>
            </a:r>
            <a:r>
              <a:rPr lang="en-US" sz="1824" dirty="0">
                <a:solidFill>
                  <a:srgbClr val="00B0F0"/>
                </a:solidFill>
                <a:latin typeface="Calibri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824" dirty="0">
                <a:solidFill>
                  <a:srgbClr val="00B0F0"/>
                </a:solidFill>
                <a:latin typeface="Calibri"/>
                <a:ea typeface="Times New Roman" panose="02020603050405020304" pitchFamily="18" charset="0"/>
                <a:cs typeface="Arial" panose="020B0604020202020204" pitchFamily="34" charset="0"/>
              </a:rPr>
              <a:t>муниципальный округ Басманный, пер. Армянский, д. 11А/2 стр. 1А</a:t>
            </a:r>
            <a:br>
              <a:rPr lang="ru-RU" sz="1824" dirty="0">
                <a:solidFill>
                  <a:srgbClr val="00B0F0"/>
                </a:solidFill>
                <a:latin typeface="Calibri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sz="1799" dirty="0">
                <a:solidFill>
                  <a:srgbClr val="00B0F0"/>
                </a:solidFill>
                <a:latin typeface="Calibri"/>
                <a:ea typeface="Times New Roman" panose="02020603050405020304" pitchFamily="18" charset="0"/>
                <a:cs typeface="Arial" panose="020B0604020202020204" pitchFamily="34" charset="0"/>
              </a:rPr>
              <a:t>+7 (495) 625-72-45, +7 (926) 561-09-80 </a:t>
            </a:r>
            <a:r>
              <a:rPr lang="en-US" sz="1799" dirty="0">
                <a:solidFill>
                  <a:srgbClr val="00B0F0"/>
                </a:solidFill>
                <a:latin typeface="Calibri"/>
                <a:ea typeface="Times New Roman" panose="02020603050405020304" pitchFamily="18" charset="0"/>
                <a:cs typeface="Arial" panose="020B0604020202020204" pitchFamily="34" charset="0"/>
              </a:rPr>
              <a:t>| </a:t>
            </a:r>
            <a:r>
              <a:rPr lang="en-US" sz="1799" dirty="0">
                <a:solidFill>
                  <a:srgbClr val="00B0F0"/>
                </a:solidFill>
                <a:latin typeface="Calibri"/>
                <a:ea typeface="Times New Roman" panose="02020603050405020304" pitchFamily="18" charset="0"/>
                <a:cs typeface="Arial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ews@json.tv</a:t>
            </a:r>
            <a:r>
              <a:rPr lang="ru-RU" sz="1799" dirty="0">
                <a:solidFill>
                  <a:srgbClr val="00B0F0"/>
                </a:solidFill>
                <a:latin typeface="Calibri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US" sz="1799" dirty="0">
                <a:solidFill>
                  <a:srgbClr val="00B0F0"/>
                </a:solidFill>
                <a:latin typeface="Calibri"/>
                <a:ea typeface="Times New Roman" panose="02020603050405020304" pitchFamily="18" charset="0"/>
                <a:cs typeface="Arial" panose="020B0604020202020204" pitchFamily="34" charset="0"/>
              </a:rPr>
              <a:t>|</a:t>
            </a:r>
            <a:r>
              <a:rPr lang="ru-RU" sz="1799" dirty="0">
                <a:solidFill>
                  <a:srgbClr val="00B0F0"/>
                </a:solidFill>
                <a:latin typeface="Calibri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US" sz="1799" dirty="0">
                <a:solidFill>
                  <a:srgbClr val="00B0F0"/>
                </a:solidFill>
                <a:latin typeface="Calibri"/>
                <a:ea typeface="Times New Roman" panose="02020603050405020304" pitchFamily="18" charset="0"/>
                <a:cs typeface="Arial" panose="020B0604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json.tv/</a:t>
            </a:r>
            <a:endParaRPr lang="ru-RU" sz="1799" dirty="0">
              <a:solidFill>
                <a:srgbClr val="00B0F0"/>
              </a:solidFill>
              <a:latin typeface="Calibri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 defTabSz="1041819">
              <a:defRPr/>
            </a:pPr>
            <a:r>
              <a:rPr lang="ru-RU" sz="1799" dirty="0">
                <a:solidFill>
                  <a:srgbClr val="00B0F0"/>
                </a:solidFill>
                <a:latin typeface="Calibri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defTabSz="1042690">
              <a:defRPr/>
            </a:pPr>
            <a:fld id="{B6F15528-21DE-4FAA-801E-634DDDAF4B2B}" type="slidenum">
              <a:rPr lang="ru-RU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1042690">
                <a:defRPr/>
              </a:pPr>
              <a:t>11</a:t>
            </a:fld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493131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DA52C3-2DC0-B41B-2FA9-E2535947CA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3986D899-5E61-A7E5-30A8-2DA73F36B6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705" y="1157431"/>
            <a:ext cx="6362008" cy="4995808"/>
          </a:xfrm>
          <a:prstGeom prst="rect">
            <a:avLst/>
          </a:prstGeom>
        </p:spPr>
      </p:pic>
      <p:sp>
        <p:nvSpPr>
          <p:cNvPr id="32" name="object 6">
            <a:extLst>
              <a:ext uri="{FF2B5EF4-FFF2-40B4-BE49-F238E27FC236}">
                <a16:creationId xmlns:a16="http://schemas.microsoft.com/office/drawing/2014/main" id="{5FEE6F17-9E60-D7B2-C666-16FE095B6630}"/>
              </a:ext>
            </a:extLst>
          </p:cNvPr>
          <p:cNvSpPr txBox="1"/>
          <p:nvPr/>
        </p:nvSpPr>
        <p:spPr>
          <a:xfrm>
            <a:off x="5705569" y="1132736"/>
            <a:ext cx="6486433" cy="5466221"/>
          </a:xfrm>
          <a:prstGeom prst="rect">
            <a:avLst/>
          </a:prstGeom>
        </p:spPr>
        <p:txBody>
          <a:bodyPr vert="horz" wrap="none" lIns="0" tIns="14482" rIns="0" bIns="0" rtlCol="0">
            <a:noAutofit/>
          </a:bodyPr>
          <a:lstStyle/>
          <a:p>
            <a:pPr marL="14482" marR="689334" defTabSz="1042690">
              <a:spcBef>
                <a:spcPts val="114"/>
              </a:spcBef>
              <a:buClr>
                <a:srgbClr val="000000"/>
              </a:buClr>
              <a:defRPr/>
            </a:pPr>
            <a:r>
              <a:rPr sz="1824" b="1" kern="0" spc="-17" dirty="0">
                <a:solidFill>
                  <a:srgbClr val="0052A5"/>
                </a:solidFill>
                <a:latin typeface="Century Gothic" panose="020B0502020202020204" pitchFamily="34" charset="0"/>
                <a:cs typeface="Arial"/>
                <a:sym typeface="Arial"/>
              </a:rPr>
              <a:t>J’son </a:t>
            </a:r>
            <a:r>
              <a:rPr sz="1824" b="1" kern="0" dirty="0">
                <a:solidFill>
                  <a:srgbClr val="0052A5"/>
                </a:solidFill>
                <a:latin typeface="Century Gothic" panose="020B0502020202020204" pitchFamily="34" charset="0"/>
                <a:cs typeface="Arial"/>
                <a:sym typeface="Arial"/>
              </a:rPr>
              <a:t>&amp; Partners </a:t>
            </a:r>
            <a:r>
              <a:rPr sz="1824" b="1" kern="0" spc="-6" dirty="0">
                <a:solidFill>
                  <a:srgbClr val="0052A5"/>
                </a:solidFill>
                <a:latin typeface="Century Gothic" panose="020B0502020202020204" pitchFamily="34" charset="0"/>
                <a:cs typeface="Arial"/>
                <a:sym typeface="Arial"/>
              </a:rPr>
              <a:t>Consulting</a:t>
            </a:r>
            <a:r>
              <a:rPr lang="ru-RU" sz="1824" b="1" kern="0" spc="-6" dirty="0">
                <a:solidFill>
                  <a:srgbClr val="0052A5"/>
                </a:solidFill>
                <a:latin typeface="Century Gothic" panose="020B0502020202020204" pitchFamily="34" charset="0"/>
                <a:cs typeface="Arial"/>
                <a:sym typeface="Arial"/>
              </a:rPr>
              <a:t> </a:t>
            </a:r>
            <a:r>
              <a:rPr lang="ru-RU" sz="1824" b="1" kern="0" spc="-6" dirty="0">
                <a:solidFill>
                  <a:srgbClr val="FF0000"/>
                </a:solidFill>
                <a:latin typeface="Century Gothic" panose="020B0502020202020204" pitchFamily="34" charset="0"/>
                <a:cs typeface="Arial"/>
                <a:sym typeface="Arial"/>
              </a:rPr>
              <a:t>(Аналитика + </a:t>
            </a:r>
            <a:r>
              <a:rPr lang="en-US" sz="1824" b="1" kern="0" spc="-6" dirty="0">
                <a:solidFill>
                  <a:srgbClr val="FF0000"/>
                </a:solidFill>
                <a:latin typeface="Century Gothic" panose="020B0502020202020204" pitchFamily="34" charset="0"/>
                <a:cs typeface="Arial"/>
                <a:sym typeface="Arial"/>
              </a:rPr>
              <a:t>JSON.TV</a:t>
            </a:r>
            <a:r>
              <a:rPr lang="ru-RU" sz="1824" b="1" kern="0" spc="-6" dirty="0">
                <a:solidFill>
                  <a:srgbClr val="FF0000"/>
                </a:solidFill>
                <a:latin typeface="Century Gothic" panose="020B0502020202020204" pitchFamily="34" charset="0"/>
                <a:cs typeface="Arial"/>
                <a:sym typeface="Arial"/>
              </a:rPr>
              <a:t> + </a:t>
            </a:r>
            <a:r>
              <a:rPr lang="en-US" sz="1824" b="1" kern="0" spc="-6" dirty="0">
                <a:solidFill>
                  <a:srgbClr val="FF0000"/>
                </a:solidFill>
                <a:latin typeface="Century Gothic" panose="020B0502020202020204" pitchFamily="34" charset="0"/>
                <a:cs typeface="Arial"/>
                <a:sym typeface="Arial"/>
              </a:rPr>
              <a:t>PR</a:t>
            </a:r>
            <a:r>
              <a:rPr lang="ru-RU" sz="1824" b="1" kern="0" spc="-6" dirty="0">
                <a:solidFill>
                  <a:srgbClr val="FF0000"/>
                </a:solidFill>
                <a:latin typeface="Century Gothic" panose="020B0502020202020204" pitchFamily="34" charset="0"/>
                <a:cs typeface="Arial"/>
                <a:sym typeface="Arial"/>
              </a:rPr>
              <a:t>)</a:t>
            </a:r>
            <a:r>
              <a:rPr sz="1824" b="1" kern="0" spc="-6" dirty="0">
                <a:solidFill>
                  <a:srgbClr val="0052A5"/>
                </a:solidFill>
                <a:latin typeface="Century Gothic" panose="020B0502020202020204" pitchFamily="34" charset="0"/>
                <a:cs typeface="Arial"/>
                <a:sym typeface="Arial"/>
              </a:rPr>
              <a:t> </a:t>
            </a:r>
            <a:r>
              <a:rPr sz="1824" kern="0" dirty="0">
                <a:solidFill>
                  <a:srgbClr val="0052A5"/>
                </a:solidFill>
                <a:latin typeface="Century Gothic" panose="020B0502020202020204" pitchFamily="34" charset="0"/>
                <a:cs typeface="Arial MT"/>
                <a:sym typeface="Arial"/>
              </a:rPr>
              <a:t>– </a:t>
            </a:r>
            <a:br>
              <a:rPr lang="ru-RU" sz="1596" kern="0" dirty="0">
                <a:solidFill>
                  <a:srgbClr val="0052A5"/>
                </a:solidFill>
                <a:latin typeface="Century Gothic" panose="020B0502020202020204" pitchFamily="34" charset="0"/>
                <a:cs typeface="Arial MT"/>
                <a:sym typeface="Arial"/>
              </a:rPr>
            </a:br>
            <a:br>
              <a:rPr lang="ru-RU" sz="1596" kern="0" dirty="0">
                <a:solidFill>
                  <a:srgbClr val="0052A5"/>
                </a:solidFill>
                <a:latin typeface="Century Gothic" panose="020B0502020202020204" pitchFamily="34" charset="0"/>
                <a:cs typeface="Arial MT"/>
                <a:sym typeface="Arial"/>
              </a:rPr>
            </a:br>
            <a:r>
              <a:rPr lang="ru-RU" sz="1596" kern="0" dirty="0">
                <a:solidFill>
                  <a:srgbClr val="0052A5"/>
                </a:solidFill>
                <a:latin typeface="Century Gothic" panose="020B0502020202020204" pitchFamily="34" charset="0"/>
                <a:cs typeface="Arial MT"/>
                <a:sym typeface="Arial"/>
              </a:rPr>
              <a:t>российское аналитическое агентство</a:t>
            </a:r>
            <a:r>
              <a:rPr lang="en-US" sz="1596" kern="0" dirty="0">
                <a:solidFill>
                  <a:srgbClr val="0052A5"/>
                </a:solidFill>
                <a:latin typeface="Century Gothic" panose="020B0502020202020204" pitchFamily="34" charset="0"/>
                <a:cs typeface="Arial MT"/>
                <a:sym typeface="Arial"/>
              </a:rPr>
              <a:t>, </a:t>
            </a:r>
            <a:r>
              <a:rPr lang="ru-RU" sz="1596" kern="0" dirty="0">
                <a:solidFill>
                  <a:srgbClr val="0052A5"/>
                </a:solidFill>
                <a:latin typeface="Century Gothic" panose="020B0502020202020204" pitchFamily="34" charset="0"/>
                <a:cs typeface="Arial MT"/>
                <a:sym typeface="Arial"/>
              </a:rPr>
              <a:t>СМИ</a:t>
            </a:r>
            <a:r>
              <a:rPr lang="en-US" sz="1596" kern="0" dirty="0">
                <a:solidFill>
                  <a:srgbClr val="0052A5"/>
                </a:solidFill>
                <a:latin typeface="Century Gothic" panose="020B0502020202020204" pitchFamily="34" charset="0"/>
                <a:cs typeface="Arial MT"/>
                <a:sym typeface="Arial"/>
              </a:rPr>
              <a:t> </a:t>
            </a:r>
            <a:r>
              <a:rPr lang="ru-RU" sz="1596" kern="0" dirty="0">
                <a:solidFill>
                  <a:srgbClr val="0052A5"/>
                </a:solidFill>
                <a:latin typeface="Century Gothic" panose="020B0502020202020204" pitchFamily="34" charset="0"/>
                <a:cs typeface="Arial MT"/>
                <a:sym typeface="Arial"/>
              </a:rPr>
              <a:t>и ТВ-производство</a:t>
            </a:r>
            <a:endParaRPr lang="en-US" sz="1596" kern="0" dirty="0">
              <a:solidFill>
                <a:srgbClr val="0052A5"/>
              </a:solidFill>
              <a:latin typeface="Century Gothic" panose="020B0502020202020204" pitchFamily="34" charset="0"/>
              <a:cs typeface="Arial MT"/>
              <a:sym typeface="Arial"/>
            </a:endParaRPr>
          </a:p>
          <a:p>
            <a:pPr marL="14482" marR="689334" defTabSz="1042690">
              <a:spcBef>
                <a:spcPts val="114"/>
              </a:spcBef>
              <a:buClr>
                <a:srgbClr val="000000"/>
              </a:buClr>
              <a:defRPr/>
            </a:pPr>
            <a:r>
              <a:rPr lang="ru-RU" sz="1596" u="sng" kern="0" dirty="0">
                <a:solidFill>
                  <a:srgbClr val="0052A5"/>
                </a:solidFill>
                <a:latin typeface="Century Gothic" panose="020B0502020202020204" pitchFamily="34" charset="0"/>
                <a:cs typeface="Arial MT"/>
                <a:sym typeface="Arial"/>
              </a:rPr>
              <a:t>в высокотехнологичных отраслях</a:t>
            </a:r>
            <a:r>
              <a:rPr lang="ru-RU" sz="1596" kern="0" dirty="0">
                <a:solidFill>
                  <a:srgbClr val="0052A5"/>
                </a:solidFill>
                <a:latin typeface="Century Gothic" panose="020B0502020202020204" pitchFamily="34" charset="0"/>
                <a:cs typeface="Arial MT"/>
                <a:sym typeface="Arial"/>
              </a:rPr>
              <a:t>: </a:t>
            </a:r>
          </a:p>
          <a:p>
            <a:pPr marL="14482" marR="689334" defTabSz="1042690">
              <a:spcBef>
                <a:spcPts val="114"/>
              </a:spcBef>
              <a:buClr>
                <a:srgbClr val="000000"/>
              </a:buClr>
              <a:defRPr/>
            </a:pPr>
            <a:endParaRPr lang="ru-RU" sz="1596" kern="0" dirty="0">
              <a:solidFill>
                <a:srgbClr val="0052A5"/>
              </a:solidFill>
              <a:latin typeface="Century Gothic" panose="020B0502020202020204" pitchFamily="34" charset="0"/>
              <a:cs typeface="Arial MT"/>
              <a:sym typeface="Arial"/>
            </a:endParaRPr>
          </a:p>
          <a:p>
            <a:pPr marL="14482" marR="689334" defTabSz="1042690">
              <a:spcBef>
                <a:spcPts val="114"/>
              </a:spcBef>
              <a:buClr>
                <a:srgbClr val="000000"/>
              </a:buClr>
              <a:defRPr/>
            </a:pPr>
            <a:r>
              <a:rPr lang="ru-RU" sz="1596" b="1" kern="0" dirty="0">
                <a:solidFill>
                  <a:srgbClr val="0052A5"/>
                </a:solidFill>
                <a:latin typeface="Century Gothic" panose="020B0502020202020204" pitchFamily="34" charset="0"/>
                <a:cs typeface="Arial MT"/>
                <a:sym typeface="Arial"/>
              </a:rPr>
              <a:t>промышленность</a:t>
            </a:r>
            <a:r>
              <a:rPr lang="en-US" sz="1596" b="1" kern="0" dirty="0">
                <a:solidFill>
                  <a:srgbClr val="0052A5"/>
                </a:solidFill>
                <a:latin typeface="Century Gothic" panose="020B0502020202020204" pitchFamily="34" charset="0"/>
                <a:cs typeface="Arial MT"/>
                <a:sym typeface="Arial"/>
              </a:rPr>
              <a:t>,</a:t>
            </a:r>
            <a:r>
              <a:rPr lang="ru-RU" sz="1596" b="1" kern="0" dirty="0">
                <a:solidFill>
                  <a:srgbClr val="0052A5"/>
                </a:solidFill>
                <a:latin typeface="Century Gothic" panose="020B0502020202020204" pitchFamily="34" charset="0"/>
                <a:cs typeface="Arial MT"/>
                <a:sym typeface="Arial"/>
              </a:rPr>
              <a:t> телекоммуникации, электроника,</a:t>
            </a:r>
            <a:br>
              <a:rPr lang="ru-RU" sz="1596" b="1" kern="0" dirty="0">
                <a:solidFill>
                  <a:srgbClr val="0052A5"/>
                </a:solidFill>
                <a:latin typeface="Century Gothic" panose="020B0502020202020204" pitchFamily="34" charset="0"/>
                <a:cs typeface="Arial MT"/>
                <a:sym typeface="Arial"/>
              </a:rPr>
            </a:br>
            <a:r>
              <a:rPr lang="ru-RU" sz="1596" b="1" kern="0" dirty="0">
                <a:solidFill>
                  <a:srgbClr val="0052A5"/>
                </a:solidFill>
                <a:latin typeface="Century Gothic" panose="020B0502020202020204" pitchFamily="34" charset="0"/>
                <a:cs typeface="Arial MT"/>
                <a:sym typeface="Arial"/>
              </a:rPr>
              <a:t>ИТ, ПО, ИИ, ИБ, </a:t>
            </a:r>
            <a:r>
              <a:rPr lang="en-US" sz="1596" b="1" kern="0" dirty="0">
                <a:solidFill>
                  <a:srgbClr val="0052A5"/>
                </a:solidFill>
                <a:latin typeface="Century Gothic" panose="020B0502020202020204" pitchFamily="34" charset="0"/>
                <a:cs typeface="Arial MT"/>
                <a:sym typeface="Arial"/>
              </a:rPr>
              <a:t>IIoT, </a:t>
            </a:r>
            <a:br>
              <a:rPr lang="ru-RU" sz="1596" b="1" kern="0" dirty="0">
                <a:solidFill>
                  <a:srgbClr val="0052A5"/>
                </a:solidFill>
                <a:latin typeface="Century Gothic" panose="020B0502020202020204" pitchFamily="34" charset="0"/>
                <a:cs typeface="Arial MT"/>
                <a:sym typeface="Arial"/>
              </a:rPr>
            </a:br>
            <a:r>
              <a:rPr lang="ru-RU" sz="1596" kern="0" dirty="0">
                <a:solidFill>
                  <a:srgbClr val="0052A5"/>
                </a:solidFill>
                <a:latin typeface="Century Gothic" panose="020B0502020202020204" pitchFamily="34" charset="0"/>
                <a:cs typeface="Arial MT"/>
                <a:sym typeface="Arial"/>
              </a:rPr>
              <a:t>цифровизация, импортозамещение, локализация. </a:t>
            </a:r>
          </a:p>
          <a:p>
            <a:pPr marL="14482" marR="689334" defTabSz="1042690">
              <a:spcBef>
                <a:spcPts val="114"/>
              </a:spcBef>
              <a:buClr>
                <a:srgbClr val="000000"/>
              </a:buClr>
              <a:defRPr/>
            </a:pPr>
            <a:endParaRPr lang="ru-RU" sz="1596" kern="0" dirty="0">
              <a:solidFill>
                <a:srgbClr val="0052A5"/>
              </a:solidFill>
              <a:latin typeface="Century Gothic" panose="020B0502020202020204" pitchFamily="34" charset="0"/>
              <a:cs typeface="Arial MT"/>
              <a:sym typeface="Arial"/>
            </a:endParaRPr>
          </a:p>
          <a:p>
            <a:pPr marL="14482" marR="689334" defTabSz="1042690">
              <a:spcBef>
                <a:spcPts val="114"/>
              </a:spcBef>
              <a:spcAft>
                <a:spcPts val="684"/>
              </a:spcAft>
              <a:buClr>
                <a:srgbClr val="000000"/>
              </a:buClr>
              <a:defRPr/>
            </a:pPr>
            <a:r>
              <a:rPr lang="ru-RU" sz="1596" b="1" kern="0" dirty="0">
                <a:solidFill>
                  <a:srgbClr val="0052A5"/>
                </a:solidFill>
                <a:latin typeface="Century Gothic" panose="020B0502020202020204" pitchFamily="34" charset="0"/>
                <a:cs typeface="Arial MT"/>
                <a:sym typeface="Arial"/>
              </a:rPr>
              <a:t>Компания находится на пересечении: </a:t>
            </a:r>
          </a:p>
          <a:p>
            <a:pPr marL="340323" marR="689334" indent="-325841" defTabSz="1042690">
              <a:spcBef>
                <a:spcPts val="684"/>
              </a:spcBef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ru-RU" sz="1596" kern="0" dirty="0">
                <a:solidFill>
                  <a:srgbClr val="0052A5"/>
                </a:solidFill>
                <a:latin typeface="Century Gothic" panose="020B0502020202020204" pitchFamily="34" charset="0"/>
                <a:cs typeface="Arial MT"/>
                <a:sym typeface="Arial"/>
              </a:rPr>
              <a:t>Маркетинговые исследования полного цикла</a:t>
            </a:r>
          </a:p>
          <a:p>
            <a:pPr marL="340323" marR="689334" indent="-325841">
              <a:spcBef>
                <a:spcPts val="684"/>
              </a:spcBef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ru-RU" sz="1596" kern="0" dirty="0">
                <a:solidFill>
                  <a:srgbClr val="0052A5"/>
                </a:solidFill>
                <a:latin typeface="Century Gothic" panose="020B0502020202020204" pitchFamily="34" charset="0"/>
                <a:cs typeface="Arial MT"/>
                <a:sym typeface="Arial"/>
              </a:rPr>
              <a:t>Привлечение инвестиций, М</a:t>
            </a:r>
            <a:r>
              <a:rPr lang="en-US" sz="1596" kern="0" dirty="0">
                <a:solidFill>
                  <a:srgbClr val="0052A5"/>
                </a:solidFill>
                <a:latin typeface="Century Gothic" panose="020B0502020202020204" pitchFamily="34" charset="0"/>
                <a:cs typeface="Arial MT"/>
                <a:sym typeface="Arial"/>
              </a:rPr>
              <a:t>&amp;A, IPO</a:t>
            </a:r>
            <a:endParaRPr lang="ru-RU" sz="1596" kern="0" dirty="0">
              <a:solidFill>
                <a:srgbClr val="0052A5"/>
              </a:solidFill>
              <a:latin typeface="Century Gothic" panose="020B0502020202020204" pitchFamily="34" charset="0"/>
              <a:cs typeface="Arial MT"/>
              <a:sym typeface="Arial"/>
            </a:endParaRPr>
          </a:p>
          <a:p>
            <a:pPr marL="340323" marR="689334" indent="-325841">
              <a:spcBef>
                <a:spcPts val="684"/>
              </a:spcBef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ru-RU" sz="1596" kern="0" dirty="0">
                <a:solidFill>
                  <a:srgbClr val="0052A5"/>
                </a:solidFill>
                <a:latin typeface="Century Gothic" panose="020B0502020202020204" pitchFamily="34" charset="0"/>
                <a:cs typeface="Arial MT"/>
                <a:sym typeface="Arial"/>
              </a:rPr>
              <a:t>Верификация положения на рынке, </a:t>
            </a:r>
            <a:br>
              <a:rPr lang="ru-RU" sz="1596" kern="0" dirty="0">
                <a:solidFill>
                  <a:srgbClr val="0052A5"/>
                </a:solidFill>
                <a:latin typeface="Century Gothic" panose="020B0502020202020204" pitchFamily="34" charset="0"/>
                <a:cs typeface="Arial MT"/>
                <a:sym typeface="Arial"/>
              </a:rPr>
            </a:br>
            <a:r>
              <a:rPr lang="en-US" sz="1596" kern="0" dirty="0">
                <a:solidFill>
                  <a:srgbClr val="0052A5"/>
                </a:solidFill>
                <a:latin typeface="Century Gothic" panose="020B0502020202020204" pitchFamily="34" charset="0"/>
                <a:cs typeface="Arial MT"/>
                <a:sym typeface="Arial"/>
              </a:rPr>
              <a:t>PR-</a:t>
            </a:r>
            <a:r>
              <a:rPr lang="ru-RU" sz="1596" kern="0" dirty="0">
                <a:solidFill>
                  <a:srgbClr val="0052A5"/>
                </a:solidFill>
                <a:latin typeface="Century Gothic" panose="020B0502020202020204" pitchFamily="34" charset="0"/>
                <a:cs typeface="Arial MT"/>
                <a:sym typeface="Arial"/>
              </a:rPr>
              <a:t>продвижение через аналитику</a:t>
            </a:r>
          </a:p>
          <a:p>
            <a:pPr marL="340323" marR="689334" indent="-325841" defTabSz="1042690">
              <a:spcBef>
                <a:spcPts val="684"/>
              </a:spcBef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ru-RU" sz="1596" kern="0" dirty="0">
                <a:solidFill>
                  <a:srgbClr val="0052A5"/>
                </a:solidFill>
                <a:latin typeface="Century Gothic" panose="020B0502020202020204" pitchFamily="34" charset="0"/>
                <a:cs typeface="Arial MT"/>
                <a:sym typeface="Arial"/>
              </a:rPr>
              <a:t>Технологический медиапортал (СМИ)</a:t>
            </a:r>
          </a:p>
          <a:p>
            <a:pPr marL="340323" marR="689334" indent="-325841" defTabSz="1042690">
              <a:spcBef>
                <a:spcPts val="684"/>
              </a:spcBef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ru-RU" sz="1596" kern="0" dirty="0">
                <a:solidFill>
                  <a:srgbClr val="0052A5"/>
                </a:solidFill>
                <a:latin typeface="Century Gothic" panose="020B0502020202020204" pitchFamily="34" charset="0"/>
                <a:cs typeface="Arial MT"/>
                <a:sym typeface="Arial"/>
              </a:rPr>
              <a:t>ТВ-производство студийного уровня</a:t>
            </a:r>
          </a:p>
          <a:p>
            <a:pPr marL="340323" marR="689334" indent="-325841" defTabSz="1042690">
              <a:spcBef>
                <a:spcPts val="684"/>
              </a:spcBef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sz="1596" kern="0" dirty="0">
                <a:solidFill>
                  <a:srgbClr val="0052A5"/>
                </a:solidFill>
                <a:latin typeface="Century Gothic" panose="020B0502020202020204" pitchFamily="34" charset="0"/>
                <a:cs typeface="Arial MT"/>
                <a:sym typeface="Arial"/>
              </a:rPr>
              <a:t>Event-Production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A6BBCCD-680D-5EC9-AC14-4A2200C0D78C}"/>
              </a:ext>
            </a:extLst>
          </p:cNvPr>
          <p:cNvSpPr txBox="1"/>
          <p:nvPr/>
        </p:nvSpPr>
        <p:spPr>
          <a:xfrm>
            <a:off x="593760" y="6123065"/>
            <a:ext cx="11290499" cy="5133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1042690">
              <a:spcBef>
                <a:spcPts val="684"/>
              </a:spcBef>
              <a:defRPr/>
            </a:pPr>
            <a:r>
              <a:rPr lang="ru-RU" sz="1368" dirty="0">
                <a:solidFill>
                  <a:srgbClr val="FF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Аналитика и экспертиза компании прочно себя зарекомендовала и используется во всех направлениях промышленных, телеком, медиа, ИТ/ИКТ отраслях, а также в </a:t>
            </a:r>
            <a:r>
              <a:rPr lang="ru-RU" sz="1368" dirty="0">
                <a:solidFill>
                  <a:srgbClr val="FF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проектах государственного </a:t>
            </a:r>
            <a:r>
              <a:rPr lang="ru-RU" sz="1368" dirty="0">
                <a:solidFill>
                  <a:srgbClr val="FF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и международного уровня. </a:t>
            </a:r>
            <a:endParaRPr lang="en-US" sz="1368" dirty="0">
              <a:solidFill>
                <a:srgbClr val="FF0000"/>
              </a:solidFill>
              <a:latin typeface="Century Gothic" panose="020B0502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object 2">
            <a:extLst>
              <a:ext uri="{FF2B5EF4-FFF2-40B4-BE49-F238E27FC236}">
                <a16:creationId xmlns:a16="http://schemas.microsoft.com/office/drawing/2014/main" id="{B4E1C365-6367-9F10-0604-63B33C6F7868}"/>
              </a:ext>
            </a:extLst>
          </p:cNvPr>
          <p:cNvSpPr txBox="1">
            <a:spLocks/>
          </p:cNvSpPr>
          <p:nvPr/>
        </p:nvSpPr>
        <p:spPr>
          <a:xfrm>
            <a:off x="1037473" y="107660"/>
            <a:ext cx="8356666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sz="2000" b="1" i="0">
                <a:solidFill>
                  <a:srgbClr val="003274"/>
                </a:solidFill>
                <a:latin typeface="Arial"/>
                <a:ea typeface="+mj-ea"/>
                <a:cs typeface="Arial"/>
              </a:defRPr>
            </a:lvl1pPr>
          </a:lstStyle>
          <a:p>
            <a:pPr defTabSz="1042259">
              <a:defRPr/>
            </a:pPr>
            <a:r>
              <a:rPr lang="ru-RU" sz="2400" dirty="0">
                <a:solidFill>
                  <a:srgbClr val="0052A5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Российское аналитическое агентство. СМИ. ТВ. </a:t>
            </a:r>
            <a:r>
              <a:rPr lang="en-US" sz="2400" dirty="0">
                <a:solidFill>
                  <a:srgbClr val="0052A5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 </a:t>
            </a:r>
            <a:endParaRPr lang="ru-RU" dirty="0">
              <a:solidFill>
                <a:srgbClr val="0052A5"/>
              </a:solidFill>
              <a:latin typeface="Century Gothic" panose="020B0502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637E3E5-9998-5768-9217-5114FF92DEA9}"/>
              </a:ext>
            </a:extLst>
          </p:cNvPr>
          <p:cNvSpPr txBox="1"/>
          <p:nvPr/>
        </p:nvSpPr>
        <p:spPr>
          <a:xfrm>
            <a:off x="926230" y="556682"/>
            <a:ext cx="8356666" cy="354595"/>
          </a:xfrm>
          <a:prstGeom prst="rect">
            <a:avLst/>
          </a:prstGeom>
          <a:noFill/>
        </p:spPr>
        <p:txBody>
          <a:bodyPr wrap="square" lIns="104278" tIns="52139" rIns="104278" bIns="52139" rtlCol="0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2200" b="1">
                <a:solidFill>
                  <a:srgbClr val="0052A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27FB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Devanagari MT" panose="02000500020000000000" pitchFamily="2" charset="0"/>
              </a:rPr>
              <a:t>ООО «Джейсон энд Партнерс Консалтинг»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C1499913-BAE7-51FA-8628-9691B5696D6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2445" y="213720"/>
            <a:ext cx="2614989" cy="673300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60C967BF-2BAD-6F79-36F5-3AC2138DFC60}"/>
              </a:ext>
            </a:extLst>
          </p:cNvPr>
          <p:cNvSpPr/>
          <p:nvPr/>
        </p:nvSpPr>
        <p:spPr>
          <a:xfrm>
            <a:off x="552206" y="0"/>
            <a:ext cx="382849" cy="870842"/>
          </a:xfrm>
          <a:prstGeom prst="rect">
            <a:avLst/>
          </a:prstGeom>
          <a:solidFill>
            <a:srgbClr val="FDE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78" tIns="52139" rIns="104278" bIns="52139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8C418952-41F8-AAB2-275F-A1326E97DF85}"/>
              </a:ext>
            </a:extLst>
          </p:cNvPr>
          <p:cNvCxnSpPr>
            <a:cxnSpLocks/>
          </p:cNvCxnSpPr>
          <p:nvPr/>
        </p:nvCxnSpPr>
        <p:spPr>
          <a:xfrm>
            <a:off x="372533" y="953037"/>
            <a:ext cx="11656198" cy="0"/>
          </a:xfrm>
          <a:prstGeom prst="line">
            <a:avLst/>
          </a:prstGeom>
          <a:ln w="38100" cap="rnd" cmpd="sng">
            <a:gradFill flip="none" rotWithShape="1">
              <a:gsLst>
                <a:gs pos="14000">
                  <a:srgbClr val="0052A4">
                    <a:alpha val="77819"/>
                  </a:srgbClr>
                </a:gs>
                <a:gs pos="36000">
                  <a:srgbClr val="0052A4">
                    <a:alpha val="74709"/>
                  </a:srgbClr>
                </a:gs>
                <a:gs pos="67000">
                  <a:srgbClr val="027FBE">
                    <a:alpha val="81915"/>
                  </a:srgbClr>
                </a:gs>
                <a:gs pos="51000">
                  <a:srgbClr val="027FBE"/>
                </a:gs>
                <a:gs pos="84000">
                  <a:srgbClr val="027FBE">
                    <a:alpha val="81774"/>
                  </a:srgbClr>
                </a:gs>
              </a:gsLst>
              <a:lin ang="2700000" scaled="1"/>
              <a:tileRect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4642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46FF70-9D30-F3EA-8432-F87D731B55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object 2">
            <a:extLst>
              <a:ext uri="{FF2B5EF4-FFF2-40B4-BE49-F238E27FC236}">
                <a16:creationId xmlns:a16="http://schemas.microsoft.com/office/drawing/2014/main" id="{106B1790-D4D9-7123-9832-E608458B07C5}"/>
              </a:ext>
            </a:extLst>
          </p:cNvPr>
          <p:cNvSpPr txBox="1">
            <a:spLocks/>
          </p:cNvSpPr>
          <p:nvPr/>
        </p:nvSpPr>
        <p:spPr>
          <a:xfrm>
            <a:off x="1037473" y="107660"/>
            <a:ext cx="8356666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sz="2000" b="1" i="0">
                <a:solidFill>
                  <a:srgbClr val="003274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0" cap="none" spc="-5" normalizeH="0" baseline="0" noProof="0" dirty="0">
                <a:ln>
                  <a:noFill/>
                </a:ln>
                <a:solidFill>
                  <a:srgbClr val="0052A4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Что такое ИТ-рынок? 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E96F338-D8D4-27D5-E864-9AB29CEA7E0B}"/>
              </a:ext>
            </a:extLst>
          </p:cNvPr>
          <p:cNvSpPr txBox="1"/>
          <p:nvPr/>
        </p:nvSpPr>
        <p:spPr>
          <a:xfrm>
            <a:off x="926230" y="556682"/>
            <a:ext cx="8356666" cy="354595"/>
          </a:xfrm>
          <a:prstGeom prst="rect">
            <a:avLst/>
          </a:prstGeom>
          <a:noFill/>
        </p:spPr>
        <p:txBody>
          <a:bodyPr wrap="square" lIns="104278" tIns="52139" rIns="104278" bIns="52139" rtlCol="0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2200" b="1">
                <a:solidFill>
                  <a:srgbClr val="0052A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27FB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Devanagari MT" panose="02000500020000000000" pitchFamily="2" charset="0"/>
              </a:rPr>
              <a:t>Официальное определение: «Информационные Технологии»</a:t>
            </a:r>
          </a:p>
        </p:txBody>
      </p:sp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41B6F34A-7376-F8F6-8FCE-F176404452A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2445" y="213720"/>
            <a:ext cx="2614989" cy="673300"/>
          </a:xfrm>
          <a:prstGeom prst="rect">
            <a:avLst/>
          </a:prstGeom>
        </p:spPr>
      </p:pic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C53C9EDE-34E1-ABA4-0384-71D1260F763F}"/>
              </a:ext>
            </a:extLst>
          </p:cNvPr>
          <p:cNvSpPr/>
          <p:nvPr/>
        </p:nvSpPr>
        <p:spPr>
          <a:xfrm>
            <a:off x="552206" y="0"/>
            <a:ext cx="382849" cy="870842"/>
          </a:xfrm>
          <a:prstGeom prst="rect">
            <a:avLst/>
          </a:prstGeom>
          <a:solidFill>
            <a:srgbClr val="FDE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78" tIns="52139" rIns="104278" bIns="52139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3" name="Прямая соединительная линия 42">
            <a:extLst>
              <a:ext uri="{FF2B5EF4-FFF2-40B4-BE49-F238E27FC236}">
                <a16:creationId xmlns:a16="http://schemas.microsoft.com/office/drawing/2014/main" id="{5B1AD32A-BE59-E60B-03B3-E864852627D9}"/>
              </a:ext>
            </a:extLst>
          </p:cNvPr>
          <p:cNvCxnSpPr>
            <a:cxnSpLocks/>
          </p:cNvCxnSpPr>
          <p:nvPr/>
        </p:nvCxnSpPr>
        <p:spPr>
          <a:xfrm>
            <a:off x="372533" y="953037"/>
            <a:ext cx="11656198" cy="0"/>
          </a:xfrm>
          <a:prstGeom prst="line">
            <a:avLst/>
          </a:prstGeom>
          <a:ln w="38100" cap="rnd" cmpd="sng">
            <a:gradFill flip="none" rotWithShape="1">
              <a:gsLst>
                <a:gs pos="14000">
                  <a:srgbClr val="0052A4">
                    <a:alpha val="77819"/>
                  </a:srgbClr>
                </a:gs>
                <a:gs pos="36000">
                  <a:srgbClr val="0052A4">
                    <a:alpha val="74709"/>
                  </a:srgbClr>
                </a:gs>
                <a:gs pos="67000">
                  <a:srgbClr val="027FBE">
                    <a:alpha val="81915"/>
                  </a:srgbClr>
                </a:gs>
                <a:gs pos="51000">
                  <a:srgbClr val="027FBE"/>
                </a:gs>
                <a:gs pos="84000">
                  <a:srgbClr val="027FBE">
                    <a:alpha val="81774"/>
                  </a:srgbClr>
                </a:gs>
              </a:gsLst>
              <a:lin ang="2700000" scaled="1"/>
              <a:tileRect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ounded Rectangle 90">
            <a:extLst>
              <a:ext uri="{FF2B5EF4-FFF2-40B4-BE49-F238E27FC236}">
                <a16:creationId xmlns:a16="http://schemas.microsoft.com/office/drawing/2014/main" id="{5E69495E-3DC3-72B1-BA9A-3A05924AD3B4}"/>
              </a:ext>
            </a:extLst>
          </p:cNvPr>
          <p:cNvSpPr/>
          <p:nvPr/>
        </p:nvSpPr>
        <p:spPr>
          <a:xfrm>
            <a:off x="1037473" y="6148204"/>
            <a:ext cx="10433173" cy="602136"/>
          </a:xfrm>
          <a:prstGeom prst="roundRect">
            <a:avLst/>
          </a:prstGeom>
          <a:solidFill>
            <a:srgbClr val="00399A"/>
          </a:solidFill>
          <a:ln w="12700">
            <a:solidFill>
              <a:srgbClr val="002D7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45720" rIns="45720" rtlCol="0" anchor="ctr">
            <a:norm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1" i="0" u="none" strike="noStrike" kern="1200" cap="none" spc="0" normalizeH="0" baseline="0" noProof="0" dirty="0">
              <a:ln>
                <a:noFill/>
              </a:ln>
              <a:solidFill>
                <a:srgbClr val="FFCE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7" name="Рисунок 6" descr="Включенный свет со сплошной заливкой">
            <a:extLst>
              <a:ext uri="{FF2B5EF4-FFF2-40B4-BE49-F238E27FC236}">
                <a16:creationId xmlns:a16="http://schemas.microsoft.com/office/drawing/2014/main" id="{64D650FD-4101-54BE-444A-57A155F7D3B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30597" y="6148204"/>
            <a:ext cx="584392" cy="58439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88F4C15-FAA3-23F8-32B9-E70B61DDA9A3}"/>
              </a:ext>
            </a:extLst>
          </p:cNvPr>
          <p:cNvSpPr txBox="1"/>
          <p:nvPr/>
        </p:nvSpPr>
        <p:spPr>
          <a:xfrm>
            <a:off x="1763723" y="6238636"/>
            <a:ext cx="9706923" cy="470810"/>
          </a:xfrm>
          <a:prstGeom prst="rect">
            <a:avLst/>
          </a:prstGeom>
          <a:noFill/>
        </p:spPr>
        <p:txBody>
          <a:bodyPr wrap="square" lIns="18288" tIns="18288" rIns="18288" bIns="18288">
            <a:noAutofit/>
          </a:bodyPr>
          <a:lstStyle/>
          <a:p>
            <a:pPr lvl="0">
              <a:lnSpc>
                <a:spcPct val="120000"/>
              </a:lnSpc>
            </a:pPr>
            <a:r>
              <a:rPr lang="ru-RU" sz="1200" b="1" dirty="0">
                <a:solidFill>
                  <a:srgbClr val="FFCE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ынок ИТ является аналитической моделью, а не нормативной классификацией. </a:t>
            </a:r>
            <a:r>
              <a:rPr lang="ru-RU" sz="1200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руктура рынков строится на основе гос. классификаторов (ОКВЭД, ОКПД2, ТН ВЭД, ГОСТ, Реестры), стандартов, российских и международных аналитических агентств  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BD329BB-FA4B-0DA9-2B54-CC1A2D9FF7B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8674" y="1109028"/>
            <a:ext cx="4819066" cy="4795935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7B335E0F-188B-78A2-2ED5-01A453B9687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41582" y="1157993"/>
            <a:ext cx="4819066" cy="4757481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5FBF1111-6A19-D062-4469-F1545E41C52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92394" y="1095236"/>
            <a:ext cx="381086" cy="4809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67634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6F4295-8420-BD99-D630-2F77287693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object 2">
            <a:extLst>
              <a:ext uri="{FF2B5EF4-FFF2-40B4-BE49-F238E27FC236}">
                <a16:creationId xmlns:a16="http://schemas.microsoft.com/office/drawing/2014/main" id="{088840E5-1595-8DF1-2587-44099296BB2C}"/>
              </a:ext>
            </a:extLst>
          </p:cNvPr>
          <p:cNvSpPr txBox="1">
            <a:spLocks/>
          </p:cNvSpPr>
          <p:nvPr/>
        </p:nvSpPr>
        <p:spPr>
          <a:xfrm>
            <a:off x="1037473" y="107660"/>
            <a:ext cx="8356666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sz="2000" b="1" i="0">
                <a:solidFill>
                  <a:srgbClr val="003274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0" cap="none" spc="-5" normalizeH="0" baseline="0" noProof="0" dirty="0">
                <a:ln>
                  <a:noFill/>
                </a:ln>
                <a:solidFill>
                  <a:srgbClr val="0052A4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ак оценить ИТ-рынок? 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6CF380B-A4C7-D376-7CD6-550FA18B8ED8}"/>
              </a:ext>
            </a:extLst>
          </p:cNvPr>
          <p:cNvSpPr txBox="1"/>
          <p:nvPr/>
        </p:nvSpPr>
        <p:spPr>
          <a:xfrm>
            <a:off x="926230" y="556682"/>
            <a:ext cx="8356666" cy="354595"/>
          </a:xfrm>
          <a:prstGeom prst="rect">
            <a:avLst/>
          </a:prstGeom>
          <a:noFill/>
        </p:spPr>
        <p:txBody>
          <a:bodyPr wrap="square" lIns="104278" tIns="52139" rIns="104278" bIns="52139" rtlCol="0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2200" b="1">
                <a:solidFill>
                  <a:srgbClr val="0052A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00" b="0" dirty="0">
                <a:solidFill>
                  <a:srgbClr val="027FBE"/>
                </a:solidFill>
                <a:cs typeface="Devanagari MT" panose="02000500020000000000" pitchFamily="2" charset="0"/>
              </a:rPr>
              <a:t>Необходимо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27FB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Devanagari MT" panose="02000500020000000000" pitchFamily="2" charset="0"/>
              </a:rPr>
              <a:t> построить сегментацию отрасли, рынков, продуктов</a:t>
            </a:r>
          </a:p>
        </p:txBody>
      </p:sp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8221D94F-C481-68A6-B130-AF361B04B9D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2445" y="213720"/>
            <a:ext cx="2614989" cy="673300"/>
          </a:xfrm>
          <a:prstGeom prst="rect">
            <a:avLst/>
          </a:prstGeom>
        </p:spPr>
      </p:pic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2728E7C7-8707-623D-B14E-98C6E47D689C}"/>
              </a:ext>
            </a:extLst>
          </p:cNvPr>
          <p:cNvSpPr/>
          <p:nvPr/>
        </p:nvSpPr>
        <p:spPr>
          <a:xfrm>
            <a:off x="552206" y="0"/>
            <a:ext cx="382849" cy="870842"/>
          </a:xfrm>
          <a:prstGeom prst="rect">
            <a:avLst/>
          </a:prstGeom>
          <a:solidFill>
            <a:srgbClr val="FDE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78" tIns="52139" rIns="104278" bIns="52139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3" name="Прямая соединительная линия 42">
            <a:extLst>
              <a:ext uri="{FF2B5EF4-FFF2-40B4-BE49-F238E27FC236}">
                <a16:creationId xmlns:a16="http://schemas.microsoft.com/office/drawing/2014/main" id="{29C6EF6B-6B00-E085-4DCA-89950BFBE0BD}"/>
              </a:ext>
            </a:extLst>
          </p:cNvPr>
          <p:cNvCxnSpPr>
            <a:cxnSpLocks/>
          </p:cNvCxnSpPr>
          <p:nvPr/>
        </p:nvCxnSpPr>
        <p:spPr>
          <a:xfrm>
            <a:off x="372533" y="953037"/>
            <a:ext cx="11656198" cy="0"/>
          </a:xfrm>
          <a:prstGeom prst="line">
            <a:avLst/>
          </a:prstGeom>
          <a:ln w="38100" cap="rnd" cmpd="sng">
            <a:gradFill flip="none" rotWithShape="1">
              <a:gsLst>
                <a:gs pos="14000">
                  <a:srgbClr val="0052A4">
                    <a:alpha val="77819"/>
                  </a:srgbClr>
                </a:gs>
                <a:gs pos="36000">
                  <a:srgbClr val="0052A4">
                    <a:alpha val="74709"/>
                  </a:srgbClr>
                </a:gs>
                <a:gs pos="67000">
                  <a:srgbClr val="027FBE">
                    <a:alpha val="81915"/>
                  </a:srgbClr>
                </a:gs>
                <a:gs pos="51000">
                  <a:srgbClr val="027FBE"/>
                </a:gs>
                <a:gs pos="84000">
                  <a:srgbClr val="027FBE">
                    <a:alpha val="81774"/>
                  </a:srgbClr>
                </a:gs>
              </a:gsLst>
              <a:lin ang="2700000" scaled="1"/>
              <a:tileRect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7601054-E880-2807-E666-57D57DC2FA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4938" y="1043842"/>
            <a:ext cx="11502867" cy="5214494"/>
          </a:xfrm>
          <a:prstGeom prst="rect">
            <a:avLst/>
          </a:prstGeom>
        </p:spPr>
      </p:pic>
      <p:sp>
        <p:nvSpPr>
          <p:cNvPr id="3" name="Rounded Rectangle 90">
            <a:extLst>
              <a:ext uri="{FF2B5EF4-FFF2-40B4-BE49-F238E27FC236}">
                <a16:creationId xmlns:a16="http://schemas.microsoft.com/office/drawing/2014/main" id="{8DCAE0CF-15E3-0C34-660D-6A7113732BD3}"/>
              </a:ext>
            </a:extLst>
          </p:cNvPr>
          <p:cNvSpPr/>
          <p:nvPr/>
        </p:nvSpPr>
        <p:spPr>
          <a:xfrm>
            <a:off x="552206" y="6148204"/>
            <a:ext cx="11420179" cy="602136"/>
          </a:xfrm>
          <a:prstGeom prst="roundRect">
            <a:avLst/>
          </a:prstGeom>
          <a:solidFill>
            <a:srgbClr val="00399A"/>
          </a:solidFill>
          <a:ln w="12700">
            <a:solidFill>
              <a:srgbClr val="002D7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45720" rIns="45720" rtlCol="0" anchor="ctr">
            <a:norm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1" i="0" u="none" strike="noStrike" kern="1200" cap="none" spc="0" normalizeH="0" baseline="0" noProof="0" dirty="0">
              <a:ln>
                <a:noFill/>
              </a:ln>
              <a:solidFill>
                <a:srgbClr val="FFCE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60A87FC-8240-A219-23A8-FCFFAD76F1B6}"/>
              </a:ext>
            </a:extLst>
          </p:cNvPr>
          <p:cNvSpPr txBox="1"/>
          <p:nvPr/>
        </p:nvSpPr>
        <p:spPr>
          <a:xfrm>
            <a:off x="1729192" y="6240804"/>
            <a:ext cx="9865965" cy="403476"/>
          </a:xfrm>
          <a:prstGeom prst="rect">
            <a:avLst/>
          </a:prstGeom>
          <a:noFill/>
        </p:spPr>
        <p:txBody>
          <a:bodyPr wrap="square" lIns="18288" tIns="18288" rIns="18288" bIns="18288">
            <a:noAutofit/>
          </a:bodyPr>
          <a:lstStyle/>
          <a:p>
            <a:pPr lvl="0">
              <a:lnSpc>
                <a:spcPct val="120000"/>
              </a:lnSpc>
            </a:pPr>
            <a:r>
              <a:rPr lang="ru-RU" sz="1200" b="1" dirty="0">
                <a:solidFill>
                  <a:srgbClr val="FFCE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чему не существует единого рынка ИТ?</a:t>
            </a:r>
            <a:r>
              <a:rPr lang="ru-RU" sz="1200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тому что это не один продукт, а экосистема взаимосвязанных технологий, платформ, оборудования, ПО и сервисов, каждая комбинация которых формирует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CE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мостоятельный продуктовый рынок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</a:t>
            </a:r>
          </a:p>
        </p:txBody>
      </p:sp>
      <p:pic>
        <p:nvPicPr>
          <p:cNvPr id="5" name="Рисунок 4" descr="Включенный свет со сплошной заливкой">
            <a:extLst>
              <a:ext uri="{FF2B5EF4-FFF2-40B4-BE49-F238E27FC236}">
                <a16:creationId xmlns:a16="http://schemas.microsoft.com/office/drawing/2014/main" id="{89789755-8F97-15B9-324D-46C63610051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0756" y="6148204"/>
            <a:ext cx="584392" cy="584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6290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0640C9-AD44-6947-4C3C-6694628CCE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90">
            <a:extLst>
              <a:ext uri="{FF2B5EF4-FFF2-40B4-BE49-F238E27FC236}">
                <a16:creationId xmlns:a16="http://schemas.microsoft.com/office/drawing/2014/main" id="{0EEE629B-E37D-5C46-4BC7-457BA999F732}"/>
              </a:ext>
            </a:extLst>
          </p:cNvPr>
          <p:cNvSpPr/>
          <p:nvPr/>
        </p:nvSpPr>
        <p:spPr>
          <a:xfrm>
            <a:off x="552206" y="6148204"/>
            <a:ext cx="11420179" cy="602136"/>
          </a:xfrm>
          <a:prstGeom prst="roundRect">
            <a:avLst/>
          </a:prstGeom>
          <a:solidFill>
            <a:srgbClr val="00399A"/>
          </a:solidFill>
          <a:ln w="12700">
            <a:solidFill>
              <a:srgbClr val="002D7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45720" rIns="45720" rtlCol="0" anchor="ctr">
            <a:norm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1" i="0" u="none" strike="noStrike" kern="1200" cap="none" spc="0" normalizeH="0" baseline="0" noProof="0" dirty="0">
              <a:ln>
                <a:noFill/>
              </a:ln>
              <a:solidFill>
                <a:srgbClr val="FFCE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9" name="object 2">
            <a:extLst>
              <a:ext uri="{FF2B5EF4-FFF2-40B4-BE49-F238E27FC236}">
                <a16:creationId xmlns:a16="http://schemas.microsoft.com/office/drawing/2014/main" id="{3DABCCA3-7DBF-6B93-6AAD-7F3FFD4B9F50}"/>
              </a:ext>
            </a:extLst>
          </p:cNvPr>
          <p:cNvSpPr txBox="1">
            <a:spLocks/>
          </p:cNvSpPr>
          <p:nvPr/>
        </p:nvSpPr>
        <p:spPr>
          <a:xfrm>
            <a:off x="1037473" y="107660"/>
            <a:ext cx="8356666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sz="2000" b="1" i="0">
                <a:solidFill>
                  <a:srgbClr val="003274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0" cap="none" spc="-5" normalizeH="0" baseline="0" noProof="0" dirty="0">
                <a:ln>
                  <a:noFill/>
                </a:ln>
                <a:solidFill>
                  <a:srgbClr val="0052A4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Что такое рынок? 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4444A6B-F76F-949F-933F-D8A4723900FF}"/>
              </a:ext>
            </a:extLst>
          </p:cNvPr>
          <p:cNvSpPr txBox="1"/>
          <p:nvPr/>
        </p:nvSpPr>
        <p:spPr>
          <a:xfrm>
            <a:off x="926230" y="556682"/>
            <a:ext cx="8356666" cy="354595"/>
          </a:xfrm>
          <a:prstGeom prst="rect">
            <a:avLst/>
          </a:prstGeom>
          <a:noFill/>
        </p:spPr>
        <p:txBody>
          <a:bodyPr wrap="square" lIns="104278" tIns="52139" rIns="104278" bIns="52139" rtlCol="0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2200" b="1">
                <a:solidFill>
                  <a:srgbClr val="0052A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27FB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Devanagari MT" panose="02000500020000000000" pitchFamily="2" charset="0"/>
              </a:rPr>
              <a:t>Официальная статистика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27FB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Devanagari MT" panose="02000500020000000000" pitchFamily="2" charset="0"/>
              </a:rPr>
              <a:t>vs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27FB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Devanagari MT" panose="02000500020000000000" pitchFamily="2" charset="0"/>
              </a:rPr>
              <a:t>маркетинговые исследования</a:t>
            </a:r>
          </a:p>
        </p:txBody>
      </p:sp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6790AEE6-65DC-B41C-681C-64EB28D145D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2445" y="213720"/>
            <a:ext cx="2614989" cy="673300"/>
          </a:xfrm>
          <a:prstGeom prst="rect">
            <a:avLst/>
          </a:prstGeom>
        </p:spPr>
      </p:pic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E548ADA9-4F6F-F613-74DB-F75DAEED570F}"/>
              </a:ext>
            </a:extLst>
          </p:cNvPr>
          <p:cNvSpPr/>
          <p:nvPr/>
        </p:nvSpPr>
        <p:spPr>
          <a:xfrm>
            <a:off x="552206" y="0"/>
            <a:ext cx="382849" cy="870842"/>
          </a:xfrm>
          <a:prstGeom prst="rect">
            <a:avLst/>
          </a:prstGeom>
          <a:solidFill>
            <a:srgbClr val="FDE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78" tIns="52139" rIns="104278" bIns="52139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357E449-A87F-D6F3-64DE-CD777B365280}"/>
              </a:ext>
            </a:extLst>
          </p:cNvPr>
          <p:cNvSpPr txBox="1"/>
          <p:nvPr/>
        </p:nvSpPr>
        <p:spPr>
          <a:xfrm>
            <a:off x="1729192" y="6252379"/>
            <a:ext cx="10115868" cy="496076"/>
          </a:xfrm>
          <a:prstGeom prst="rect">
            <a:avLst/>
          </a:prstGeom>
          <a:noFill/>
        </p:spPr>
        <p:txBody>
          <a:bodyPr wrap="square" lIns="18288" tIns="18288" rIns="18288" bIns="18288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CE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</a:t>
            </a:r>
            <a:r>
              <a:rPr kumimoji="0" lang="" sz="1200" b="1" i="0" u="none" strike="noStrike" kern="1200" cap="none" spc="0" normalizeH="0" baseline="0" noProof="0" dirty="0">
                <a:ln>
                  <a:noFill/>
                </a:ln>
                <a:solidFill>
                  <a:srgbClr val="FFCE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них официальных данных недостаточно </a:t>
            </a:r>
            <a:r>
              <a:rPr kumimoji="0" lang="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ля оценки технологических рынков и по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тому существует спрос на профессиональную аналитику. Аналитические</a:t>
            </a:r>
            <a:r>
              <a:rPr kumimoji="0" lang="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компании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мбинируют десятки источников информации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и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CE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нструируют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CE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ложные рыночные модели</a:t>
            </a:r>
            <a:r>
              <a:rPr kumimoji="0" lang="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</a:t>
            </a:r>
          </a:p>
        </p:txBody>
      </p:sp>
      <p:pic>
        <p:nvPicPr>
          <p:cNvPr id="5" name="Рисунок 4" descr="Включенный свет со сплошной заливкой">
            <a:extLst>
              <a:ext uri="{FF2B5EF4-FFF2-40B4-BE49-F238E27FC236}">
                <a16:creationId xmlns:a16="http://schemas.microsoft.com/office/drawing/2014/main" id="{EE75DE1B-2813-5C1B-135B-AA1A25F0638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90756" y="6148204"/>
            <a:ext cx="584392" cy="584392"/>
          </a:xfrm>
          <a:prstGeom prst="rect">
            <a:avLst/>
          </a:prstGeom>
        </p:spPr>
      </p:pic>
      <p:cxnSp>
        <p:nvCxnSpPr>
          <p:cNvPr id="43" name="Прямая соединительная линия 42">
            <a:extLst>
              <a:ext uri="{FF2B5EF4-FFF2-40B4-BE49-F238E27FC236}">
                <a16:creationId xmlns:a16="http://schemas.microsoft.com/office/drawing/2014/main" id="{22AFF076-2E66-92C5-834B-28900B1E3500}"/>
              </a:ext>
            </a:extLst>
          </p:cNvPr>
          <p:cNvCxnSpPr>
            <a:cxnSpLocks/>
          </p:cNvCxnSpPr>
          <p:nvPr/>
        </p:nvCxnSpPr>
        <p:spPr>
          <a:xfrm>
            <a:off x="372533" y="953037"/>
            <a:ext cx="11656198" cy="0"/>
          </a:xfrm>
          <a:prstGeom prst="line">
            <a:avLst/>
          </a:prstGeom>
          <a:ln w="38100" cap="rnd" cmpd="sng">
            <a:gradFill flip="none" rotWithShape="1">
              <a:gsLst>
                <a:gs pos="14000">
                  <a:srgbClr val="0052A4">
                    <a:alpha val="77819"/>
                  </a:srgbClr>
                </a:gs>
                <a:gs pos="36000">
                  <a:srgbClr val="0052A4">
                    <a:alpha val="74709"/>
                  </a:srgbClr>
                </a:gs>
                <a:gs pos="67000">
                  <a:srgbClr val="027FBE">
                    <a:alpha val="81915"/>
                  </a:srgbClr>
                </a:gs>
                <a:gs pos="51000">
                  <a:srgbClr val="027FBE"/>
                </a:gs>
                <a:gs pos="84000">
                  <a:srgbClr val="027FBE">
                    <a:alpha val="81774"/>
                  </a:srgbClr>
                </a:gs>
              </a:gsLst>
              <a:lin ang="2700000" scaled="1"/>
              <a:tileRect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F3ECC1D-BBB1-F94D-F38E-5A19EF5183E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8682" y="1185448"/>
            <a:ext cx="11443703" cy="4825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0167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9DF55B-B20C-18B8-0149-4D5E2942ED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90">
            <a:extLst>
              <a:ext uri="{FF2B5EF4-FFF2-40B4-BE49-F238E27FC236}">
                <a16:creationId xmlns:a16="http://schemas.microsoft.com/office/drawing/2014/main" id="{9A8C3FE5-9BD3-3D50-21CA-7039AF82C709}"/>
              </a:ext>
            </a:extLst>
          </p:cNvPr>
          <p:cNvSpPr/>
          <p:nvPr/>
        </p:nvSpPr>
        <p:spPr>
          <a:xfrm>
            <a:off x="551337" y="6148204"/>
            <a:ext cx="10815003" cy="602136"/>
          </a:xfrm>
          <a:prstGeom prst="roundRect">
            <a:avLst/>
          </a:prstGeom>
          <a:solidFill>
            <a:srgbClr val="00399A"/>
          </a:solidFill>
          <a:ln w="12700">
            <a:solidFill>
              <a:srgbClr val="002D7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45720" rIns="45720" rtlCol="0" anchor="ctr">
            <a:norm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1" i="0" u="none" strike="noStrike" kern="1200" cap="none" spc="0" normalizeH="0" baseline="0" noProof="0" dirty="0">
              <a:ln>
                <a:noFill/>
              </a:ln>
              <a:solidFill>
                <a:srgbClr val="FFCE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9" name="object 2">
            <a:extLst>
              <a:ext uri="{FF2B5EF4-FFF2-40B4-BE49-F238E27FC236}">
                <a16:creationId xmlns:a16="http://schemas.microsoft.com/office/drawing/2014/main" id="{04D9000C-4175-CD26-5692-C025918829EC}"/>
              </a:ext>
            </a:extLst>
          </p:cNvPr>
          <p:cNvSpPr txBox="1">
            <a:spLocks/>
          </p:cNvSpPr>
          <p:nvPr/>
        </p:nvSpPr>
        <p:spPr>
          <a:xfrm>
            <a:off x="1037473" y="107660"/>
            <a:ext cx="8356666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sz="2000" b="1" i="0">
                <a:solidFill>
                  <a:srgbClr val="003274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0" cap="none" spc="-5" normalizeH="0" baseline="0" noProof="0" dirty="0">
                <a:ln>
                  <a:noFill/>
                </a:ln>
                <a:solidFill>
                  <a:srgbClr val="0052A4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акой размер ИТ-рынка?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7C9FF57-E698-2FEA-E666-00BCD086644A}"/>
              </a:ext>
            </a:extLst>
          </p:cNvPr>
          <p:cNvSpPr txBox="1"/>
          <p:nvPr/>
        </p:nvSpPr>
        <p:spPr>
          <a:xfrm>
            <a:off x="926230" y="556682"/>
            <a:ext cx="8356666" cy="354595"/>
          </a:xfrm>
          <a:prstGeom prst="rect">
            <a:avLst/>
          </a:prstGeom>
          <a:noFill/>
        </p:spPr>
        <p:txBody>
          <a:bodyPr wrap="square" lIns="104278" tIns="52139" rIns="104278" bIns="52139" rtlCol="0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2200" b="1">
                <a:solidFill>
                  <a:srgbClr val="0052A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>
              <a:defRPr/>
            </a:pPr>
            <a:r>
              <a:rPr lang="ru-RU" sz="1800" b="0" dirty="0">
                <a:solidFill>
                  <a:srgbClr val="027FBE"/>
                </a:solidFill>
                <a:cs typeface="Devanagari MT" panose="02000500020000000000" pitchFamily="2" charset="0"/>
              </a:rPr>
              <a:t>Ответ на этот вопрос зависит от методологии и качества исходных данных</a:t>
            </a:r>
          </a:p>
        </p:txBody>
      </p:sp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C26BB89B-6174-FB77-A8A0-A9FE8D3BA2A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2445" y="213720"/>
            <a:ext cx="2614989" cy="673300"/>
          </a:xfrm>
          <a:prstGeom prst="rect">
            <a:avLst/>
          </a:prstGeom>
        </p:spPr>
      </p:pic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5F97A6E2-F9A7-5330-33E5-14D5397A443A}"/>
              </a:ext>
            </a:extLst>
          </p:cNvPr>
          <p:cNvSpPr/>
          <p:nvPr/>
        </p:nvSpPr>
        <p:spPr>
          <a:xfrm>
            <a:off x="552206" y="0"/>
            <a:ext cx="382849" cy="870842"/>
          </a:xfrm>
          <a:prstGeom prst="rect">
            <a:avLst/>
          </a:prstGeom>
          <a:solidFill>
            <a:srgbClr val="FDE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78" tIns="52139" rIns="104278" bIns="52139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E4BEEDA-7258-D39A-67E2-5377E111A69C}"/>
              </a:ext>
            </a:extLst>
          </p:cNvPr>
          <p:cNvSpPr txBox="1"/>
          <p:nvPr/>
        </p:nvSpPr>
        <p:spPr>
          <a:xfrm>
            <a:off x="1740764" y="6252379"/>
            <a:ext cx="9509828" cy="496076"/>
          </a:xfrm>
          <a:prstGeom prst="rect">
            <a:avLst/>
          </a:prstGeom>
          <a:noFill/>
        </p:spPr>
        <p:txBody>
          <a:bodyPr wrap="square" lIns="18288" tIns="18288" rIns="18288" bIns="18288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CE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лавная ценность аналитики </a:t>
            </a: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не собрать максимум данных, а </a:t>
            </a:r>
            <a:r>
              <a:rPr lang="ru-RU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пределить, каким данным можно доверять, как их верифицировать и превратить </a:t>
            </a:r>
            <a:r>
              <a:rPr lang="ru-RU" sz="1200" b="1" dirty="0">
                <a:solidFill>
                  <a:srgbClr val="FFCE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модель, отражающую реальное состояние рынка. </a:t>
            </a:r>
            <a:endParaRPr kumimoji="0" lang="" sz="1200" b="1" i="0" u="none" strike="noStrike" kern="1200" cap="none" spc="0" normalizeH="0" baseline="0" noProof="0" dirty="0">
              <a:ln>
                <a:noFill/>
              </a:ln>
              <a:solidFill>
                <a:srgbClr val="FFCE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5" name="Рисунок 4" descr="Включенный свет со сплошной заливкой">
            <a:extLst>
              <a:ext uri="{FF2B5EF4-FFF2-40B4-BE49-F238E27FC236}">
                <a16:creationId xmlns:a16="http://schemas.microsoft.com/office/drawing/2014/main" id="{8D73F6F9-903A-7FD3-EF75-F3AB925B070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90763" y="6148204"/>
            <a:ext cx="584392" cy="584392"/>
          </a:xfrm>
          <a:prstGeom prst="rect">
            <a:avLst/>
          </a:prstGeom>
        </p:spPr>
      </p:pic>
      <p:cxnSp>
        <p:nvCxnSpPr>
          <p:cNvPr id="43" name="Прямая соединительная линия 42">
            <a:extLst>
              <a:ext uri="{FF2B5EF4-FFF2-40B4-BE49-F238E27FC236}">
                <a16:creationId xmlns:a16="http://schemas.microsoft.com/office/drawing/2014/main" id="{7041B4A0-D979-1AA8-BA04-EC29FCF913E8}"/>
              </a:ext>
            </a:extLst>
          </p:cNvPr>
          <p:cNvCxnSpPr>
            <a:cxnSpLocks/>
          </p:cNvCxnSpPr>
          <p:nvPr/>
        </p:nvCxnSpPr>
        <p:spPr>
          <a:xfrm>
            <a:off x="372533" y="953037"/>
            <a:ext cx="11656198" cy="0"/>
          </a:xfrm>
          <a:prstGeom prst="line">
            <a:avLst/>
          </a:prstGeom>
          <a:ln w="38100" cap="rnd" cmpd="sng">
            <a:gradFill flip="none" rotWithShape="1">
              <a:gsLst>
                <a:gs pos="14000">
                  <a:srgbClr val="0052A4">
                    <a:alpha val="77819"/>
                  </a:srgbClr>
                </a:gs>
                <a:gs pos="36000">
                  <a:srgbClr val="0052A4">
                    <a:alpha val="74709"/>
                  </a:srgbClr>
                </a:gs>
                <a:gs pos="67000">
                  <a:srgbClr val="027FBE">
                    <a:alpha val="81915"/>
                  </a:srgbClr>
                </a:gs>
                <a:gs pos="51000">
                  <a:srgbClr val="027FBE"/>
                </a:gs>
                <a:gs pos="84000">
                  <a:srgbClr val="027FBE">
                    <a:alpha val="81774"/>
                  </a:srgbClr>
                </a:gs>
              </a:gsLst>
              <a:lin ang="2700000" scaled="1"/>
              <a:tileRect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21B2A1E3-1FC0-FCBA-DCD3-5CB473CE1E5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0314" y="991194"/>
            <a:ext cx="10988623" cy="5129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25376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5B4FDE-6D1C-FFDE-C8AE-0CFA9FFE41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90">
            <a:extLst>
              <a:ext uri="{FF2B5EF4-FFF2-40B4-BE49-F238E27FC236}">
                <a16:creationId xmlns:a16="http://schemas.microsoft.com/office/drawing/2014/main" id="{507B4A10-FD29-A529-463B-8FB16C2E013D}"/>
              </a:ext>
            </a:extLst>
          </p:cNvPr>
          <p:cNvSpPr/>
          <p:nvPr/>
        </p:nvSpPr>
        <p:spPr>
          <a:xfrm>
            <a:off x="551337" y="6148204"/>
            <a:ext cx="11237642" cy="602136"/>
          </a:xfrm>
          <a:prstGeom prst="roundRect">
            <a:avLst/>
          </a:prstGeom>
          <a:solidFill>
            <a:srgbClr val="00399A"/>
          </a:solidFill>
          <a:ln w="12700">
            <a:solidFill>
              <a:srgbClr val="002D7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45720" rIns="45720" rtlCol="0" anchor="ctr">
            <a:norm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1" i="0" u="none" strike="noStrike" kern="1200" cap="none" spc="0" normalizeH="0" baseline="0" noProof="0" dirty="0">
              <a:ln>
                <a:noFill/>
              </a:ln>
              <a:solidFill>
                <a:srgbClr val="FFCE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9" name="object 2">
            <a:extLst>
              <a:ext uri="{FF2B5EF4-FFF2-40B4-BE49-F238E27FC236}">
                <a16:creationId xmlns:a16="http://schemas.microsoft.com/office/drawing/2014/main" id="{A9EF8B48-176E-8F1F-E640-22F2FD5F6682}"/>
              </a:ext>
            </a:extLst>
          </p:cNvPr>
          <p:cNvSpPr txBox="1">
            <a:spLocks/>
          </p:cNvSpPr>
          <p:nvPr/>
        </p:nvSpPr>
        <p:spPr>
          <a:xfrm>
            <a:off x="1037473" y="107660"/>
            <a:ext cx="8356666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sz="2000" b="1" i="0">
                <a:solidFill>
                  <a:srgbClr val="003274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0" cap="none" spc="-5" normalizeH="0" baseline="0" noProof="0" dirty="0">
                <a:ln>
                  <a:noFill/>
                </a:ln>
                <a:solidFill>
                  <a:srgbClr val="0052A4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ак строится модель рынка?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83DF590-9745-E1B5-D3B3-313494A8340D}"/>
              </a:ext>
            </a:extLst>
          </p:cNvPr>
          <p:cNvSpPr txBox="1"/>
          <p:nvPr/>
        </p:nvSpPr>
        <p:spPr>
          <a:xfrm>
            <a:off x="926230" y="556682"/>
            <a:ext cx="8356666" cy="354595"/>
          </a:xfrm>
          <a:prstGeom prst="rect">
            <a:avLst/>
          </a:prstGeom>
          <a:noFill/>
        </p:spPr>
        <p:txBody>
          <a:bodyPr wrap="square" lIns="104278" tIns="52139" rIns="104278" bIns="52139" rtlCol="0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2200" b="1">
                <a:solidFill>
                  <a:srgbClr val="0052A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>
              <a:defRPr/>
            </a:pPr>
            <a:r>
              <a:rPr lang="ru-RU" sz="1800" b="0" dirty="0">
                <a:solidFill>
                  <a:srgbClr val="027FBE"/>
                </a:solidFill>
                <a:cs typeface="Devanagari MT" panose="02000500020000000000" pitchFamily="2" charset="0"/>
              </a:rPr>
              <a:t>Исследование – это «производственный процесс» построения модели </a:t>
            </a:r>
          </a:p>
        </p:txBody>
      </p:sp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318CD720-0B11-5A9E-866E-8334B3D09B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2445" y="213720"/>
            <a:ext cx="2614989" cy="673300"/>
          </a:xfrm>
          <a:prstGeom prst="rect">
            <a:avLst/>
          </a:prstGeom>
        </p:spPr>
      </p:pic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FADDD46B-70BD-0EE4-ABCC-23700CFB274E}"/>
              </a:ext>
            </a:extLst>
          </p:cNvPr>
          <p:cNvSpPr/>
          <p:nvPr/>
        </p:nvSpPr>
        <p:spPr>
          <a:xfrm>
            <a:off x="552206" y="0"/>
            <a:ext cx="382849" cy="870842"/>
          </a:xfrm>
          <a:prstGeom prst="rect">
            <a:avLst/>
          </a:prstGeom>
          <a:solidFill>
            <a:srgbClr val="FDE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78" tIns="52139" rIns="104278" bIns="52139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1B5C210-0FAD-5C7B-6569-4549927E0D32}"/>
              </a:ext>
            </a:extLst>
          </p:cNvPr>
          <p:cNvSpPr txBox="1"/>
          <p:nvPr/>
        </p:nvSpPr>
        <p:spPr>
          <a:xfrm>
            <a:off x="1740763" y="6252379"/>
            <a:ext cx="10048216" cy="496076"/>
          </a:xfrm>
          <a:prstGeom prst="rect">
            <a:avLst/>
          </a:prstGeom>
          <a:noFill/>
        </p:spPr>
        <p:txBody>
          <a:bodyPr wrap="square" lIns="18288" tIns="18288" rIns="18288" bIns="18288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ркетинговое исследование – это последовательный процесс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CE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нижения неопределенности при методологическом построении </a:t>
            </a:r>
            <a:b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CE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200" b="1" dirty="0">
                <a:solidFill>
                  <a:srgbClr val="FFCE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одели рынка</a:t>
            </a:r>
            <a:r>
              <a:rPr lang="ru-RU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с целью </a:t>
            </a:r>
            <a:r>
              <a:rPr lang="ru-RU" sz="1200" b="1" dirty="0">
                <a:solidFill>
                  <a:srgbClr val="FFCE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лучения его достоверной оценки </a:t>
            </a:r>
            <a:r>
              <a:rPr lang="ru-RU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ля принятия управленческих решений</a:t>
            </a:r>
            <a:endParaRPr kumimoji="0" lang="" sz="1200" b="1" i="0" u="none" strike="noStrike" kern="1200" cap="none" spc="0" normalizeH="0" baseline="0" noProof="0" dirty="0">
              <a:ln>
                <a:noFill/>
              </a:ln>
              <a:solidFill>
                <a:srgbClr val="FFCE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5" name="Рисунок 4" descr="Включенный свет со сплошной заливкой">
            <a:extLst>
              <a:ext uri="{FF2B5EF4-FFF2-40B4-BE49-F238E27FC236}">
                <a16:creationId xmlns:a16="http://schemas.microsoft.com/office/drawing/2014/main" id="{DC04CA59-5DBF-87F6-7FC1-5AC5320A3D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90763" y="6148204"/>
            <a:ext cx="584392" cy="584392"/>
          </a:xfrm>
          <a:prstGeom prst="rect">
            <a:avLst/>
          </a:prstGeom>
        </p:spPr>
      </p:pic>
      <p:cxnSp>
        <p:nvCxnSpPr>
          <p:cNvPr id="43" name="Прямая соединительная линия 42">
            <a:extLst>
              <a:ext uri="{FF2B5EF4-FFF2-40B4-BE49-F238E27FC236}">
                <a16:creationId xmlns:a16="http://schemas.microsoft.com/office/drawing/2014/main" id="{E902362A-6BF6-2864-15C2-C3EE53F318E9}"/>
              </a:ext>
            </a:extLst>
          </p:cNvPr>
          <p:cNvCxnSpPr>
            <a:cxnSpLocks/>
          </p:cNvCxnSpPr>
          <p:nvPr/>
        </p:nvCxnSpPr>
        <p:spPr>
          <a:xfrm>
            <a:off x="372533" y="953037"/>
            <a:ext cx="11656198" cy="0"/>
          </a:xfrm>
          <a:prstGeom prst="line">
            <a:avLst/>
          </a:prstGeom>
          <a:ln w="38100" cap="rnd" cmpd="sng">
            <a:gradFill flip="none" rotWithShape="1">
              <a:gsLst>
                <a:gs pos="14000">
                  <a:srgbClr val="0052A4">
                    <a:alpha val="77819"/>
                  </a:srgbClr>
                </a:gs>
                <a:gs pos="36000">
                  <a:srgbClr val="0052A4">
                    <a:alpha val="74709"/>
                  </a:srgbClr>
                </a:gs>
                <a:gs pos="67000">
                  <a:srgbClr val="027FBE">
                    <a:alpha val="81915"/>
                  </a:srgbClr>
                </a:gs>
                <a:gs pos="51000">
                  <a:srgbClr val="027FBE"/>
                </a:gs>
                <a:gs pos="84000">
                  <a:srgbClr val="027FBE">
                    <a:alpha val="81774"/>
                  </a:srgbClr>
                </a:gs>
              </a:gsLst>
              <a:lin ang="2700000" scaled="1"/>
              <a:tileRect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5E0B9E35-6258-C430-FBEF-01FD272B124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2021" y="1057212"/>
            <a:ext cx="8294623" cy="4950963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A33E0A1F-0118-E8C1-4230-193CA457316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781576" y="3111858"/>
            <a:ext cx="3111500" cy="1689100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312C7BDE-1D77-C6EF-362A-CE68B84201D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791369" y="4702649"/>
            <a:ext cx="3048000" cy="1409700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986EE318-D567-AA30-A742-44E8737CAAF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799979" y="1093067"/>
            <a:ext cx="3035300" cy="2247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35580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9A777D-A0CB-3404-C929-142FC5F7B8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object 2">
            <a:extLst>
              <a:ext uri="{FF2B5EF4-FFF2-40B4-BE49-F238E27FC236}">
                <a16:creationId xmlns:a16="http://schemas.microsoft.com/office/drawing/2014/main" id="{7503C816-927E-BC46-7CE9-4B88CADFD22F}"/>
              </a:ext>
            </a:extLst>
          </p:cNvPr>
          <p:cNvSpPr txBox="1">
            <a:spLocks/>
          </p:cNvSpPr>
          <p:nvPr/>
        </p:nvSpPr>
        <p:spPr>
          <a:xfrm>
            <a:off x="1037473" y="107660"/>
            <a:ext cx="8356666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sz="2000" b="1" i="0">
                <a:solidFill>
                  <a:srgbClr val="003274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0" cap="none" spc="-5" normalizeH="0" baseline="0" noProof="0" dirty="0">
                <a:ln>
                  <a:noFill/>
                </a:ln>
                <a:solidFill>
                  <a:srgbClr val="0052A4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чему сложно оценивать ИТ-рынки?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C6B4E07-540B-C286-C956-DEF13AF9BB32}"/>
              </a:ext>
            </a:extLst>
          </p:cNvPr>
          <p:cNvSpPr txBox="1"/>
          <p:nvPr/>
        </p:nvSpPr>
        <p:spPr>
          <a:xfrm>
            <a:off x="926230" y="556682"/>
            <a:ext cx="8356666" cy="354595"/>
          </a:xfrm>
          <a:prstGeom prst="rect">
            <a:avLst/>
          </a:prstGeom>
          <a:noFill/>
        </p:spPr>
        <p:txBody>
          <a:bodyPr wrap="square" lIns="104278" tIns="52139" rIns="104278" bIns="52139" rtlCol="0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2200" b="1">
                <a:solidFill>
                  <a:srgbClr val="0052A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>
              <a:defRPr/>
            </a:pPr>
            <a:r>
              <a:rPr lang="ru-RU" sz="1800" b="0" dirty="0">
                <a:solidFill>
                  <a:srgbClr val="027FBE"/>
                </a:solidFill>
                <a:cs typeface="Devanagari MT" panose="02000500020000000000" pitchFamily="2" charset="0"/>
              </a:rPr>
              <a:t>Примеры из практики </a:t>
            </a:r>
            <a:r>
              <a:rPr lang="en-US" sz="1800" b="0" dirty="0">
                <a:solidFill>
                  <a:srgbClr val="027FBE"/>
                </a:solidFill>
                <a:cs typeface="Devanagari MT" panose="02000500020000000000" pitchFamily="2" charset="0"/>
              </a:rPr>
              <a:t>J’son &amp; Partners</a:t>
            </a:r>
            <a:endParaRPr lang="ru-RU" sz="1800" b="0" dirty="0">
              <a:solidFill>
                <a:srgbClr val="027FBE"/>
              </a:solidFill>
              <a:cs typeface="Devanagari MT" panose="02000500020000000000" pitchFamily="2" charset="0"/>
            </a:endParaRPr>
          </a:p>
        </p:txBody>
      </p:sp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0365F2DE-9D54-A804-F2B9-D6399C011EA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2445" y="213720"/>
            <a:ext cx="2614989" cy="673300"/>
          </a:xfrm>
          <a:prstGeom prst="rect">
            <a:avLst/>
          </a:prstGeom>
        </p:spPr>
      </p:pic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602FD5AD-8213-E211-70C5-1134480C635B}"/>
              </a:ext>
            </a:extLst>
          </p:cNvPr>
          <p:cNvSpPr/>
          <p:nvPr/>
        </p:nvSpPr>
        <p:spPr>
          <a:xfrm>
            <a:off x="552206" y="0"/>
            <a:ext cx="382849" cy="870842"/>
          </a:xfrm>
          <a:prstGeom prst="rect">
            <a:avLst/>
          </a:prstGeom>
          <a:solidFill>
            <a:srgbClr val="FDE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78" tIns="52139" rIns="104278" bIns="52139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3" name="Прямая соединительная линия 42">
            <a:extLst>
              <a:ext uri="{FF2B5EF4-FFF2-40B4-BE49-F238E27FC236}">
                <a16:creationId xmlns:a16="http://schemas.microsoft.com/office/drawing/2014/main" id="{DE4D5569-C617-9A8F-66C8-6E0F6DDBF161}"/>
              </a:ext>
            </a:extLst>
          </p:cNvPr>
          <p:cNvCxnSpPr>
            <a:cxnSpLocks/>
          </p:cNvCxnSpPr>
          <p:nvPr/>
        </p:nvCxnSpPr>
        <p:spPr>
          <a:xfrm>
            <a:off x="372533" y="953037"/>
            <a:ext cx="11656198" cy="0"/>
          </a:xfrm>
          <a:prstGeom prst="line">
            <a:avLst/>
          </a:prstGeom>
          <a:ln w="38100" cap="rnd" cmpd="sng">
            <a:gradFill flip="none" rotWithShape="1">
              <a:gsLst>
                <a:gs pos="14000">
                  <a:srgbClr val="0052A4">
                    <a:alpha val="77819"/>
                  </a:srgbClr>
                </a:gs>
                <a:gs pos="36000">
                  <a:srgbClr val="0052A4">
                    <a:alpha val="74709"/>
                  </a:srgbClr>
                </a:gs>
                <a:gs pos="67000">
                  <a:srgbClr val="027FBE">
                    <a:alpha val="81915"/>
                  </a:srgbClr>
                </a:gs>
                <a:gs pos="51000">
                  <a:srgbClr val="027FBE"/>
                </a:gs>
                <a:gs pos="84000">
                  <a:srgbClr val="027FBE">
                    <a:alpha val="81774"/>
                  </a:srgbClr>
                </a:gs>
              </a:gsLst>
              <a:lin ang="2700000" scaled="1"/>
              <a:tileRect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A5735E8-F8FE-0F60-E9CD-68A24026D7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9609" y="977358"/>
            <a:ext cx="10048216" cy="5203302"/>
          </a:xfrm>
          <a:prstGeom prst="rect">
            <a:avLst/>
          </a:prstGeom>
        </p:spPr>
      </p:pic>
      <p:sp>
        <p:nvSpPr>
          <p:cNvPr id="8" name="Rounded Rectangle 90">
            <a:extLst>
              <a:ext uri="{FF2B5EF4-FFF2-40B4-BE49-F238E27FC236}">
                <a16:creationId xmlns:a16="http://schemas.microsoft.com/office/drawing/2014/main" id="{C377A595-9C34-8FF9-512C-2B5B6F36D379}"/>
              </a:ext>
            </a:extLst>
          </p:cNvPr>
          <p:cNvSpPr/>
          <p:nvPr/>
        </p:nvSpPr>
        <p:spPr>
          <a:xfrm>
            <a:off x="551337" y="6148204"/>
            <a:ext cx="9956488" cy="602136"/>
          </a:xfrm>
          <a:prstGeom prst="roundRect">
            <a:avLst/>
          </a:prstGeom>
          <a:solidFill>
            <a:srgbClr val="00399A"/>
          </a:solidFill>
          <a:ln w="12700">
            <a:solidFill>
              <a:srgbClr val="002D7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45720" rIns="45720" rtlCol="0" anchor="ctr">
            <a:norm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1" i="0" u="none" strike="noStrike" kern="1200" cap="none" spc="0" normalizeH="0" baseline="0" noProof="0" dirty="0">
              <a:ln>
                <a:noFill/>
              </a:ln>
              <a:solidFill>
                <a:srgbClr val="FFCE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6624EFE-0C80-E9D7-867D-90E676EC7F61}"/>
              </a:ext>
            </a:extLst>
          </p:cNvPr>
          <p:cNvSpPr txBox="1"/>
          <p:nvPr/>
        </p:nvSpPr>
        <p:spPr>
          <a:xfrm>
            <a:off x="1740763" y="6159779"/>
            <a:ext cx="8767062" cy="496076"/>
          </a:xfrm>
          <a:prstGeom prst="rect">
            <a:avLst/>
          </a:prstGeom>
          <a:noFill/>
        </p:spPr>
        <p:txBody>
          <a:bodyPr wrap="square" lIns="18288" tIns="18288" rIns="18288" bIns="18288">
            <a:noAutofit/>
          </a:bodyPr>
          <a:lstStyle/>
          <a:p>
            <a:pPr>
              <a:defRPr/>
            </a:pPr>
            <a:r>
              <a:rPr lang="ru-RU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этой связи существенно</a:t>
            </a: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возрастает роль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CE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вичной экспертной информации </a:t>
            </a: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— интервью с участниками рынка: производителями, интеграторами и заказчиками. Именно такие данные позволяют проверить гипотезы и объяснить тенденции, которые невозможно увидеть в официальной статистике.</a:t>
            </a:r>
          </a:p>
        </p:txBody>
      </p:sp>
      <p:pic>
        <p:nvPicPr>
          <p:cNvPr id="10" name="Рисунок 9" descr="Включенный свет со сплошной заливкой">
            <a:extLst>
              <a:ext uri="{FF2B5EF4-FFF2-40B4-BE49-F238E27FC236}">
                <a16:creationId xmlns:a16="http://schemas.microsoft.com/office/drawing/2014/main" id="{A8327D70-1015-2F42-361B-6A4EB2214E4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0763" y="6148204"/>
            <a:ext cx="584392" cy="584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60407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8" name="Рисунок 17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245935" y="1368540"/>
            <a:ext cx="5870067" cy="2556320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321933" y="1306333"/>
            <a:ext cx="5870067" cy="2657761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6296024" y="4275630"/>
            <a:ext cx="5747004" cy="2393442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309943" y="4308943"/>
            <a:ext cx="5667185" cy="2360200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9412445" y="213720"/>
            <a:ext cx="2614989" cy="673300"/>
          </a:xfrm>
          <a:prstGeom prst="rect">
            <a:avLst/>
          </a:prstGeom>
        </p:spPr>
      </p:pic>
      <p:cxnSp>
        <p:nvCxnSpPr>
          <p:cNvPr id="12" name="Прямая соединительная линия 11"/>
          <p:cNvCxnSpPr>
            <a:cxnSpLocks/>
          </p:cNvCxnSpPr>
          <p:nvPr/>
        </p:nvCxnSpPr>
        <p:spPr bwMode="auto">
          <a:xfrm>
            <a:off x="372533" y="944411"/>
            <a:ext cx="11656198" cy="0"/>
          </a:xfrm>
          <a:prstGeom prst="line">
            <a:avLst/>
          </a:prstGeom>
          <a:ln w="38100" cap="rnd" cmpd="sng">
            <a:gradFill>
              <a:gsLst>
                <a:gs pos="14000">
                  <a:srgbClr val="0052A4">
                    <a:alpha val="77819"/>
                  </a:srgbClr>
                </a:gs>
                <a:gs pos="36000">
                  <a:srgbClr val="0052A4">
                    <a:alpha val="74709"/>
                  </a:srgbClr>
                </a:gs>
                <a:gs pos="51000">
                  <a:srgbClr val="027FBE"/>
                </a:gs>
                <a:gs pos="67000">
                  <a:srgbClr val="027FBE">
                    <a:alpha val="81915"/>
                  </a:srgbClr>
                </a:gs>
                <a:gs pos="84000">
                  <a:srgbClr val="027FBE">
                    <a:alpha val="81774"/>
                  </a:srgbClr>
                </a:gs>
              </a:gsLst>
              <a:lin ang="2700000" scaled="1"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bject 2"/>
          <p:cNvSpPr txBox="1"/>
          <p:nvPr/>
        </p:nvSpPr>
        <p:spPr bwMode="auto">
          <a:xfrm>
            <a:off x="1037473" y="107660"/>
            <a:ext cx="8106527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sz="2000" b="1" i="0">
                <a:solidFill>
                  <a:srgbClr val="003274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 marR="0" lvl="0" indent="0" defTabSz="91440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2400" u="none" strike="noStrike" cap="none" spc="-5">
                <a:ln>
                  <a:noFill/>
                </a:ln>
                <a:solidFill>
                  <a:srgbClr val="0052A4"/>
                </a:solidFill>
                <a:latin typeface="Tahoma"/>
                <a:ea typeface="Tahoma"/>
                <a:cs typeface="Tahoma"/>
              </a:rPr>
              <a:t>Российский рынок серверов</a:t>
            </a:r>
            <a:endParaRPr/>
          </a:p>
        </p:txBody>
      </p:sp>
      <p:sp>
        <p:nvSpPr>
          <p:cNvPr id="2" name="TextBox 1"/>
          <p:cNvSpPr txBox="1"/>
          <p:nvPr/>
        </p:nvSpPr>
        <p:spPr bwMode="auto">
          <a:xfrm>
            <a:off x="935054" y="508159"/>
            <a:ext cx="8611281" cy="590044"/>
          </a:xfrm>
          <a:prstGeom prst="rect">
            <a:avLst/>
          </a:prstGeom>
          <a:noFill/>
        </p:spPr>
        <p:txBody>
          <a:bodyPr wrap="square" lIns="104278" tIns="52139" rIns="104278" bIns="52139" rtlCol="0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2200" b="1">
                <a:solidFill>
                  <a:srgbClr val="0052A4"/>
                </a:solidFill>
                <a:latin typeface="Tahoma"/>
                <a:ea typeface="Tahoma"/>
                <a:cs typeface="Tahoma"/>
              </a:defRPr>
            </a:lvl1pPr>
          </a:lstStyle>
          <a:p>
            <a:pPr>
              <a:defRPr/>
            </a:pPr>
            <a:r>
              <a:rPr lang="ru-RU" sz="1750" b="0">
                <a:solidFill>
                  <a:srgbClr val="027FBE"/>
                </a:solidFill>
                <a:ea typeface="+mn-ea"/>
                <a:cs typeface="Devanagari MT"/>
              </a:rPr>
              <a:t>Серверы высокопроизводительные (</a:t>
            </a:r>
            <a:r>
              <a:rPr lang="en-US" sz="1750" b="0">
                <a:solidFill>
                  <a:srgbClr val="027FBE"/>
                </a:solidFill>
                <a:ea typeface="+mn-ea"/>
                <a:cs typeface="Devanagari MT"/>
              </a:rPr>
              <a:t>HPC</a:t>
            </a:r>
            <a:r>
              <a:rPr lang="ru-RU" sz="1750" b="0">
                <a:solidFill>
                  <a:srgbClr val="027FBE"/>
                </a:solidFill>
                <a:ea typeface="+mn-ea"/>
                <a:cs typeface="Devanagari MT"/>
              </a:rPr>
              <a:t>/A</a:t>
            </a:r>
            <a:r>
              <a:rPr lang="en-US" sz="1750" b="0">
                <a:solidFill>
                  <a:srgbClr val="027FBE"/>
                </a:solidFill>
                <a:ea typeface="+mn-ea"/>
                <a:cs typeface="Devanagari MT"/>
              </a:rPr>
              <a:t>I</a:t>
            </a:r>
            <a:r>
              <a:rPr lang="ru-RU" sz="1750" b="0">
                <a:solidFill>
                  <a:srgbClr val="027FBE"/>
                </a:solidFill>
                <a:ea typeface="+mn-ea"/>
                <a:cs typeface="Devanagari MT"/>
              </a:rPr>
              <a:t>, H</a:t>
            </a:r>
            <a:r>
              <a:rPr lang="en-US" sz="1750" b="0">
                <a:solidFill>
                  <a:srgbClr val="027FBE"/>
                </a:solidFill>
                <a:ea typeface="+mn-ea"/>
                <a:cs typeface="Devanagari MT"/>
              </a:rPr>
              <a:t>PC</a:t>
            </a:r>
            <a:r>
              <a:rPr lang="ru-RU" sz="1750" b="0">
                <a:solidFill>
                  <a:srgbClr val="027FBE"/>
                </a:solidFill>
                <a:ea typeface="+mn-ea"/>
                <a:cs typeface="Devanagari MT"/>
              </a:rPr>
              <a:t>/</a:t>
            </a:r>
            <a:r>
              <a:rPr lang="en-US" sz="1750" b="0">
                <a:solidFill>
                  <a:srgbClr val="027FBE"/>
                </a:solidFill>
                <a:ea typeface="+mn-ea"/>
                <a:cs typeface="Devanagari MT"/>
              </a:rPr>
              <a:t>non-AI</a:t>
            </a:r>
            <a:r>
              <a:rPr lang="ru-RU" sz="1750" b="0">
                <a:solidFill>
                  <a:srgbClr val="027FBE"/>
                </a:solidFill>
                <a:ea typeface="+mn-ea"/>
                <a:cs typeface="Devanagari MT"/>
              </a:rPr>
              <a:t>)</a:t>
            </a:r>
            <a:r>
              <a:rPr lang="en-US" sz="1750" b="0">
                <a:solidFill>
                  <a:srgbClr val="027FBE"/>
                </a:solidFill>
                <a:ea typeface="+mn-ea"/>
                <a:cs typeface="Devanagari MT"/>
              </a:rPr>
              <a:t> и</a:t>
            </a:r>
            <a:r>
              <a:rPr lang="ru-RU" sz="1750" b="0">
                <a:solidFill>
                  <a:srgbClr val="027FBE"/>
                </a:solidFill>
                <a:ea typeface="+mn-ea"/>
                <a:cs typeface="Devanagari MT"/>
              </a:rPr>
              <a:t> </a:t>
            </a:r>
            <a:r>
              <a:rPr lang="en-US" sz="1750" b="0">
                <a:solidFill>
                  <a:srgbClr val="027FBE"/>
                </a:solidFill>
                <a:ea typeface="+mn-ea"/>
                <a:cs typeface="Devanagari MT"/>
              </a:rPr>
              <a:t>б</a:t>
            </a:r>
            <a:r>
              <a:rPr lang="ru-RU" sz="1750" b="0">
                <a:solidFill>
                  <a:srgbClr val="027FBE"/>
                </a:solidFill>
                <a:ea typeface="+mn-ea"/>
                <a:cs typeface="Devanagari MT"/>
              </a:rPr>
              <a:t>азового уровня</a:t>
            </a:r>
            <a:endParaRPr/>
          </a:p>
          <a:p>
            <a:pPr>
              <a:defRPr/>
            </a:pPr>
            <a:r>
              <a:rPr lang="en-US" sz="1750" b="0">
                <a:solidFill>
                  <a:srgbClr val="027FBE"/>
                </a:solidFill>
                <a:ea typeface="+mn-ea"/>
                <a:cs typeface="Devanagari MT"/>
              </a:rPr>
              <a:t> </a:t>
            </a:r>
            <a:endParaRPr lang="ru-RU" sz="1750" b="0">
              <a:solidFill>
                <a:srgbClr val="027FBE"/>
              </a:solidFill>
              <a:ea typeface="+mn-ea"/>
              <a:cs typeface="Devanagari MT"/>
            </a:endParaRPr>
          </a:p>
        </p:txBody>
      </p:sp>
      <p:cxnSp>
        <p:nvCxnSpPr>
          <p:cNvPr id="5" name="Прямая соединительная линия 4"/>
          <p:cNvCxnSpPr>
            <a:cxnSpLocks/>
          </p:cNvCxnSpPr>
          <p:nvPr/>
        </p:nvCxnSpPr>
        <p:spPr bwMode="auto">
          <a:xfrm>
            <a:off x="372533" y="944411"/>
            <a:ext cx="11656198" cy="0"/>
          </a:xfrm>
          <a:prstGeom prst="line">
            <a:avLst/>
          </a:prstGeom>
          <a:ln w="38100" cap="rnd" cmpd="sng">
            <a:gradFill>
              <a:gsLst>
                <a:gs pos="14000">
                  <a:srgbClr val="0052A4">
                    <a:alpha val="77819"/>
                  </a:srgbClr>
                </a:gs>
                <a:gs pos="36000">
                  <a:srgbClr val="0052A4">
                    <a:alpha val="74709"/>
                  </a:srgbClr>
                </a:gs>
                <a:gs pos="51000">
                  <a:srgbClr val="027FBE"/>
                </a:gs>
                <a:gs pos="67000">
                  <a:srgbClr val="027FBE">
                    <a:alpha val="81915"/>
                  </a:srgbClr>
                </a:gs>
                <a:gs pos="84000">
                  <a:srgbClr val="027FBE">
                    <a:alpha val="81774"/>
                  </a:srgbClr>
                </a:gs>
              </a:gsLst>
              <a:lin ang="2700000" scaled="1"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object 79"/>
          <p:cNvSpPr txBox="1"/>
          <p:nvPr/>
        </p:nvSpPr>
        <p:spPr bwMode="auto">
          <a:xfrm>
            <a:off x="329374" y="1043616"/>
            <a:ext cx="4698213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  <a:defRPr/>
            </a:pPr>
            <a:r>
              <a:rPr lang="ru-RU" sz="1600" spc="-5">
                <a:solidFill>
                  <a:srgbClr val="027FBE"/>
                </a:solidFill>
                <a:latin typeface="Tahoma"/>
                <a:ea typeface="Tahoma"/>
                <a:cs typeface="Tahoma"/>
              </a:rPr>
              <a:t>Рынок серверов, млрд руб. </a:t>
            </a:r>
            <a:endParaRPr lang="ru-RU" sz="1600">
              <a:solidFill>
                <a:srgbClr val="027FBE"/>
              </a:solidFill>
              <a:latin typeface="Tahoma"/>
              <a:ea typeface="Tahoma"/>
              <a:cs typeface="Tahoma"/>
            </a:endParaRPr>
          </a:p>
        </p:txBody>
      </p:sp>
      <p:sp>
        <p:nvSpPr>
          <p:cNvPr id="7" name="object 79"/>
          <p:cNvSpPr txBox="1"/>
          <p:nvPr/>
        </p:nvSpPr>
        <p:spPr bwMode="auto">
          <a:xfrm>
            <a:off x="6296024" y="1043616"/>
            <a:ext cx="4698213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  <a:defRPr/>
            </a:pPr>
            <a:r>
              <a:rPr lang="ru-RU" sz="1600" spc="-5">
                <a:solidFill>
                  <a:srgbClr val="027FBE"/>
                </a:solidFill>
                <a:latin typeface="Tahoma"/>
                <a:ea typeface="Tahoma"/>
                <a:cs typeface="Tahoma"/>
              </a:rPr>
              <a:t>Рынок серверов, тыс. шт.</a:t>
            </a:r>
            <a:endParaRPr lang="ru-RU" sz="1600">
              <a:solidFill>
                <a:srgbClr val="027FBE"/>
              </a:solidFill>
              <a:latin typeface="Tahoma"/>
              <a:ea typeface="Tahoma"/>
              <a:cs typeface="Tahoma"/>
            </a:endParaRPr>
          </a:p>
        </p:txBody>
      </p:sp>
      <p:sp>
        <p:nvSpPr>
          <p:cNvPr id="21" name="object 79"/>
          <p:cNvSpPr txBox="1"/>
          <p:nvPr/>
        </p:nvSpPr>
        <p:spPr bwMode="auto">
          <a:xfrm>
            <a:off x="329374" y="3981857"/>
            <a:ext cx="4698213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  <a:defRPr/>
            </a:pPr>
            <a:r>
              <a:rPr lang="ru-RU" sz="1600" spc="-5">
                <a:solidFill>
                  <a:srgbClr val="027FBE"/>
                </a:solidFill>
                <a:latin typeface="Tahoma"/>
                <a:ea typeface="Tahoma"/>
                <a:cs typeface="Tahoma"/>
              </a:rPr>
              <a:t>Российское производство/импорт, млрд руб. </a:t>
            </a:r>
            <a:endParaRPr lang="ru-RU" sz="1600">
              <a:solidFill>
                <a:srgbClr val="027FBE"/>
              </a:solidFill>
              <a:latin typeface="Tahoma"/>
              <a:ea typeface="Tahoma"/>
              <a:cs typeface="Tahoma"/>
            </a:endParaRPr>
          </a:p>
        </p:txBody>
      </p:sp>
      <p:sp>
        <p:nvSpPr>
          <p:cNvPr id="22" name="object 79"/>
          <p:cNvSpPr txBox="1"/>
          <p:nvPr/>
        </p:nvSpPr>
        <p:spPr bwMode="auto">
          <a:xfrm>
            <a:off x="6296024" y="3981857"/>
            <a:ext cx="4698213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  <a:defRPr/>
            </a:pPr>
            <a:r>
              <a:rPr lang="ru-RU" sz="1600" spc="-5">
                <a:solidFill>
                  <a:srgbClr val="027FBE"/>
                </a:solidFill>
                <a:latin typeface="Tahoma"/>
                <a:ea typeface="Tahoma"/>
                <a:cs typeface="Tahoma"/>
              </a:rPr>
              <a:t>Российское производство/импорт, тыс. шт.</a:t>
            </a:r>
            <a:endParaRPr lang="ru-RU" sz="1600">
              <a:solidFill>
                <a:srgbClr val="027FBE"/>
              </a:solidFill>
              <a:latin typeface="Tahoma"/>
              <a:ea typeface="Tahoma"/>
              <a:cs typeface="Tahoma"/>
            </a:endParaRPr>
          </a:p>
        </p:txBody>
      </p:sp>
      <p:sp>
        <p:nvSpPr>
          <p:cNvPr id="3" name="TextBox 2"/>
          <p:cNvSpPr txBox="1"/>
          <p:nvPr/>
        </p:nvSpPr>
        <p:spPr bwMode="auto">
          <a:xfrm>
            <a:off x="413615" y="6542620"/>
            <a:ext cx="420613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900" b="0" i="1" strike="noStrike" cap="none" spc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Tahoma"/>
                <a:ea typeface="Tahoma"/>
                <a:cs typeface="+mn-cs"/>
              </a:rPr>
              <a:t>Источник: </a:t>
            </a:r>
            <a:r>
              <a:rPr lang="en-US" sz="900" b="0" i="1" strike="noStrike" cap="none" spc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Tahoma"/>
                <a:ea typeface="Tahoma"/>
                <a:cs typeface="+mn-cs"/>
              </a:rPr>
              <a:t>J’son &amp; Partners Consulting</a:t>
            </a:r>
            <a:r>
              <a:rPr lang="ru-RU" sz="900" b="0" i="1" strike="noStrike" cap="none" spc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Tahoma"/>
                <a:ea typeface="Tahoma"/>
                <a:cs typeface="+mn-cs"/>
              </a:rPr>
              <a:t> </a:t>
            </a:r>
            <a:endParaRPr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FE2425A8-AA6C-B62B-F3DB-DE256E39AE1B}"/>
              </a:ext>
            </a:extLst>
          </p:cNvPr>
          <p:cNvSpPr/>
          <p:nvPr/>
        </p:nvSpPr>
        <p:spPr>
          <a:xfrm>
            <a:off x="552206" y="0"/>
            <a:ext cx="382849" cy="870842"/>
          </a:xfrm>
          <a:prstGeom prst="rect">
            <a:avLst/>
          </a:prstGeom>
          <a:solidFill>
            <a:srgbClr val="FDE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78" tIns="52139" rIns="104278" bIns="52139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MhMW7kRpq69QUaym87WA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Стандартная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842</TotalTime>
  <Words>655</Words>
  <Application>Microsoft Office PowerPoint</Application>
  <PresentationFormat>Широкоэкранный</PresentationFormat>
  <Paragraphs>77</Paragraphs>
  <Slides>11</Slides>
  <Notes>1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22" baseType="lpstr">
      <vt:lpstr>Aptos</vt:lpstr>
      <vt:lpstr>Arial</vt:lpstr>
      <vt:lpstr>Calibri</vt:lpstr>
      <vt:lpstr>Calibri Light</vt:lpstr>
      <vt:lpstr>Century Gothic</vt:lpstr>
      <vt:lpstr>Devanagari MT</vt:lpstr>
      <vt:lpstr>Tahoma</vt:lpstr>
      <vt:lpstr>Verdana</vt:lpstr>
      <vt:lpstr>1_Тема Office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icrosoft Office User</dc:creator>
  <cp:lastModifiedBy>Черкасова Наталия Николаевна</cp:lastModifiedBy>
  <cp:revision>8</cp:revision>
  <dcterms:created xsi:type="dcterms:W3CDTF">2026-07-16T09:10:42Z</dcterms:created>
  <dcterms:modified xsi:type="dcterms:W3CDTF">2026-07-20T11:27:44Z</dcterms:modified>
</cp:coreProperties>
</file>